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3.xml" ContentType="application/vnd.openxmlformats-officedocument.theme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theme/theme4.xml" ContentType="application/vnd.openxmlformats-officedocument.theme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620" r:id="rId1"/>
    <p:sldMasterId id="2147488351" r:id="rId2"/>
    <p:sldMasterId id="2147488372" r:id="rId3"/>
    <p:sldMasterId id="2147488629" r:id="rId4"/>
    <p:sldMasterId id="2147488689" r:id="rId5"/>
  </p:sldMasterIdLst>
  <p:notesMasterIdLst>
    <p:notesMasterId r:id="rId50"/>
  </p:notesMasterIdLst>
  <p:sldIdLst>
    <p:sldId id="280" r:id="rId6"/>
    <p:sldId id="968" r:id="rId7"/>
    <p:sldId id="1005" r:id="rId8"/>
    <p:sldId id="1025" r:id="rId9"/>
    <p:sldId id="1006" r:id="rId10"/>
    <p:sldId id="264" r:id="rId11"/>
    <p:sldId id="271" r:id="rId12"/>
    <p:sldId id="273" r:id="rId13"/>
    <p:sldId id="267" r:id="rId14"/>
    <p:sldId id="269" r:id="rId15"/>
    <p:sldId id="272" r:id="rId16"/>
    <p:sldId id="878" r:id="rId17"/>
    <p:sldId id="880" r:id="rId18"/>
    <p:sldId id="737" r:id="rId19"/>
    <p:sldId id="858" r:id="rId20"/>
    <p:sldId id="999" r:id="rId21"/>
    <p:sldId id="1020" r:id="rId22"/>
    <p:sldId id="1021" r:id="rId23"/>
    <p:sldId id="996" r:id="rId24"/>
    <p:sldId id="995" r:id="rId25"/>
    <p:sldId id="873" r:id="rId26"/>
    <p:sldId id="1002" r:id="rId27"/>
    <p:sldId id="1008" r:id="rId28"/>
    <p:sldId id="1007" r:id="rId29"/>
    <p:sldId id="1003" r:id="rId30"/>
    <p:sldId id="1004" r:id="rId31"/>
    <p:sldId id="1022" r:id="rId32"/>
    <p:sldId id="787" r:id="rId33"/>
    <p:sldId id="1013" r:id="rId34"/>
    <p:sldId id="1016" r:id="rId35"/>
    <p:sldId id="1019" r:id="rId36"/>
    <p:sldId id="1018" r:id="rId37"/>
    <p:sldId id="1017" r:id="rId38"/>
    <p:sldId id="1023" r:id="rId39"/>
    <p:sldId id="1024" r:id="rId40"/>
    <p:sldId id="1027" r:id="rId41"/>
    <p:sldId id="925" r:id="rId42"/>
    <p:sldId id="1028" r:id="rId43"/>
    <p:sldId id="955" r:id="rId44"/>
    <p:sldId id="974" r:id="rId45"/>
    <p:sldId id="832" r:id="rId46"/>
    <p:sldId id="998" r:id="rId47"/>
    <p:sldId id="845" r:id="rId48"/>
    <p:sldId id="852" r:id="rId4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E8E1CE-C373-4BDB-0D3F-F84FE1DA86D4}" name="Eileen Fleming Suse" initials="ES" userId="S::efs3844@ads.northwestern.edu::725c94ef-d051-42d7-9d33-8572765d592b" providerId="AD"/>
  <p188:author id="{1BCA7BFC-F11C-3E9E-95B3-FA7A4B2C0B61}" name="Kiela Karina Moreno" initials="KM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678F"/>
    <a:srgbClr val="DAB49D"/>
    <a:srgbClr val="AB5B42"/>
    <a:srgbClr val="1C49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1562E85-DE78-AB8E-55F5-57DDA7037DF3}" v="39" dt="2024-08-19T14:14:17.1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58481"/>
  </p:normalViewPr>
  <p:slideViewPr>
    <p:cSldViewPr snapToGrid="0">
      <p:cViewPr varScale="1">
        <p:scale>
          <a:sx n="59" d="100"/>
          <a:sy n="59" d="100"/>
        </p:scale>
        <p:origin x="26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notesMaster" Target="notesMasters/notesMaster1.xml"/><Relationship Id="rId55" Type="http://schemas.microsoft.com/office/2015/10/relationships/revisionInfo" Target="revisionInfo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microsoft.com/office/2018/10/relationships/authors" Target="authors.xml"/><Relationship Id="rId8" Type="http://schemas.openxmlformats.org/officeDocument/2006/relationships/slide" Target="slides/slide3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E470F1-5D32-48E6-8EA8-20186F51E420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3694F122-4140-4848-9D9F-C2343FBE88AD}">
      <dgm:prSet/>
      <dgm:spPr/>
      <dgm:t>
        <a:bodyPr/>
        <a:lstStyle/>
        <a:p>
          <a:r>
            <a:rPr lang="en-US" dirty="0"/>
            <a:t>Respectful Care Commitments </a:t>
          </a:r>
        </a:p>
      </dgm:t>
    </dgm:pt>
    <dgm:pt modelId="{757CA7D7-1333-4C64-9D48-51336024987F}" type="parTrans" cxnId="{D9ECA3D2-1CF4-48A1-8015-628BE41CA856}">
      <dgm:prSet/>
      <dgm:spPr/>
      <dgm:t>
        <a:bodyPr/>
        <a:lstStyle/>
        <a:p>
          <a:endParaRPr lang="en-US"/>
        </a:p>
      </dgm:t>
    </dgm:pt>
    <dgm:pt modelId="{5603D5DD-B750-44DE-9485-81692F8EFB9C}" type="sibTrans" cxnId="{D9ECA3D2-1CF4-48A1-8015-628BE41CA856}">
      <dgm:prSet/>
      <dgm:spPr/>
      <dgm:t>
        <a:bodyPr/>
        <a:lstStyle/>
        <a:p>
          <a:endParaRPr lang="en-US"/>
        </a:p>
      </dgm:t>
    </dgm:pt>
    <dgm:pt modelId="{0EABC42B-4F3D-472A-B0FE-7C5A75185314}">
      <dgm:prSet/>
      <dgm:spPr/>
      <dgm:t>
        <a:bodyPr/>
        <a:lstStyle/>
        <a:p>
          <a:r>
            <a:rPr lang="en-US"/>
            <a:t>Hearing Family Voices</a:t>
          </a:r>
        </a:p>
      </dgm:t>
    </dgm:pt>
    <dgm:pt modelId="{C3BDFB18-66A7-4E85-9C88-C33AAF4A3832}" type="parTrans" cxnId="{23652436-339E-47C3-AB9B-7E8E87E5BF2A}">
      <dgm:prSet/>
      <dgm:spPr/>
      <dgm:t>
        <a:bodyPr/>
        <a:lstStyle/>
        <a:p>
          <a:endParaRPr lang="en-US"/>
        </a:p>
      </dgm:t>
    </dgm:pt>
    <dgm:pt modelId="{04B4B7C4-17EC-46F3-A86A-733916242EAB}" type="sibTrans" cxnId="{23652436-339E-47C3-AB9B-7E8E87E5BF2A}">
      <dgm:prSet/>
      <dgm:spPr/>
      <dgm:t>
        <a:bodyPr/>
        <a:lstStyle/>
        <a:p>
          <a:endParaRPr lang="en-US"/>
        </a:p>
      </dgm:t>
    </dgm:pt>
    <dgm:pt modelId="{5C0B2C50-47B3-41D4-910B-4BEE93BB6C62}">
      <dgm:prSet/>
      <dgm:spPr/>
      <dgm:t>
        <a:bodyPr/>
        <a:lstStyle/>
        <a:p>
          <a:r>
            <a:rPr lang="en-US"/>
            <a:t>Partnering with Parents  </a:t>
          </a:r>
        </a:p>
      </dgm:t>
    </dgm:pt>
    <dgm:pt modelId="{C7A29592-CB75-4571-97C5-EDB8519F0E51}" type="parTrans" cxnId="{54CF0C9A-DD5F-41EE-982F-A58E2986A672}">
      <dgm:prSet/>
      <dgm:spPr/>
      <dgm:t>
        <a:bodyPr/>
        <a:lstStyle/>
        <a:p>
          <a:endParaRPr lang="en-US"/>
        </a:p>
      </dgm:t>
    </dgm:pt>
    <dgm:pt modelId="{E9F8BF0C-52D0-45A2-8401-5F454780ABF7}" type="sibTrans" cxnId="{54CF0C9A-DD5F-41EE-982F-A58E2986A672}">
      <dgm:prSet/>
      <dgm:spPr/>
      <dgm:t>
        <a:bodyPr/>
        <a:lstStyle/>
        <a:p>
          <a:endParaRPr lang="en-US"/>
        </a:p>
      </dgm:t>
    </dgm:pt>
    <dgm:pt modelId="{0CBD9318-3691-0A48-86BF-D9D0CBAE67FA}" type="pres">
      <dgm:prSet presAssocID="{10E470F1-5D32-48E6-8EA8-20186F51E42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3A6F6A8-DCAB-2849-BB7A-6A5314392B00}" type="pres">
      <dgm:prSet presAssocID="{3694F122-4140-4848-9D9F-C2343FBE88AD}" presName="hierRoot1" presStyleCnt="0"/>
      <dgm:spPr/>
    </dgm:pt>
    <dgm:pt modelId="{7BA21C85-BD7B-6F4E-8318-B20E4F00B6B0}" type="pres">
      <dgm:prSet presAssocID="{3694F122-4140-4848-9D9F-C2343FBE88AD}" presName="composite" presStyleCnt="0"/>
      <dgm:spPr/>
    </dgm:pt>
    <dgm:pt modelId="{43CDEB23-6A31-3D4C-8052-F26830C36882}" type="pres">
      <dgm:prSet presAssocID="{3694F122-4140-4848-9D9F-C2343FBE88AD}" presName="background" presStyleLbl="node0" presStyleIdx="0" presStyleCnt="3"/>
      <dgm:spPr/>
    </dgm:pt>
    <dgm:pt modelId="{CD844DDC-2122-B249-A2B6-1F99BCAE8EDF}" type="pres">
      <dgm:prSet presAssocID="{3694F122-4140-4848-9D9F-C2343FBE88AD}" presName="text" presStyleLbl="fgAcc0" presStyleIdx="0" presStyleCnt="3">
        <dgm:presLayoutVars>
          <dgm:chPref val="3"/>
        </dgm:presLayoutVars>
      </dgm:prSet>
      <dgm:spPr/>
    </dgm:pt>
    <dgm:pt modelId="{BD005354-5585-034F-B21F-2790F307BF79}" type="pres">
      <dgm:prSet presAssocID="{3694F122-4140-4848-9D9F-C2343FBE88AD}" presName="hierChild2" presStyleCnt="0"/>
      <dgm:spPr/>
    </dgm:pt>
    <dgm:pt modelId="{D8C0E330-0BA2-084C-9D24-927A00F9551F}" type="pres">
      <dgm:prSet presAssocID="{0EABC42B-4F3D-472A-B0FE-7C5A75185314}" presName="hierRoot1" presStyleCnt="0"/>
      <dgm:spPr/>
    </dgm:pt>
    <dgm:pt modelId="{982628CD-6ACD-434A-BF59-6E19E1CC8769}" type="pres">
      <dgm:prSet presAssocID="{0EABC42B-4F3D-472A-B0FE-7C5A75185314}" presName="composite" presStyleCnt="0"/>
      <dgm:spPr/>
    </dgm:pt>
    <dgm:pt modelId="{0B275EA0-DCC2-4141-8819-6637B27D44F4}" type="pres">
      <dgm:prSet presAssocID="{0EABC42B-4F3D-472A-B0FE-7C5A75185314}" presName="background" presStyleLbl="node0" presStyleIdx="1" presStyleCnt="3"/>
      <dgm:spPr/>
    </dgm:pt>
    <dgm:pt modelId="{AD59DDEC-EAB0-A44B-A267-C041999E7D24}" type="pres">
      <dgm:prSet presAssocID="{0EABC42B-4F3D-472A-B0FE-7C5A75185314}" presName="text" presStyleLbl="fgAcc0" presStyleIdx="1" presStyleCnt="3">
        <dgm:presLayoutVars>
          <dgm:chPref val="3"/>
        </dgm:presLayoutVars>
      </dgm:prSet>
      <dgm:spPr/>
    </dgm:pt>
    <dgm:pt modelId="{0E36ED1C-B7A0-4F42-B520-039DEF943E70}" type="pres">
      <dgm:prSet presAssocID="{0EABC42B-4F3D-472A-B0FE-7C5A75185314}" presName="hierChild2" presStyleCnt="0"/>
      <dgm:spPr/>
    </dgm:pt>
    <dgm:pt modelId="{AC10B55E-D4C3-4B45-B35B-0F14AA87CF06}" type="pres">
      <dgm:prSet presAssocID="{5C0B2C50-47B3-41D4-910B-4BEE93BB6C62}" presName="hierRoot1" presStyleCnt="0"/>
      <dgm:spPr/>
    </dgm:pt>
    <dgm:pt modelId="{4556FB91-B637-784D-B58C-F44D7A98A60F}" type="pres">
      <dgm:prSet presAssocID="{5C0B2C50-47B3-41D4-910B-4BEE93BB6C62}" presName="composite" presStyleCnt="0"/>
      <dgm:spPr/>
    </dgm:pt>
    <dgm:pt modelId="{52D80279-547E-7A48-84C5-80DDD57C73FF}" type="pres">
      <dgm:prSet presAssocID="{5C0B2C50-47B3-41D4-910B-4BEE93BB6C62}" presName="background" presStyleLbl="node0" presStyleIdx="2" presStyleCnt="3"/>
      <dgm:spPr/>
    </dgm:pt>
    <dgm:pt modelId="{E236CB0D-DB5E-6741-9FC9-D6CA9DFED182}" type="pres">
      <dgm:prSet presAssocID="{5C0B2C50-47B3-41D4-910B-4BEE93BB6C62}" presName="text" presStyleLbl="fgAcc0" presStyleIdx="2" presStyleCnt="3">
        <dgm:presLayoutVars>
          <dgm:chPref val="3"/>
        </dgm:presLayoutVars>
      </dgm:prSet>
      <dgm:spPr/>
    </dgm:pt>
    <dgm:pt modelId="{B3058831-1F8F-3349-B4B4-40E8AE929872}" type="pres">
      <dgm:prSet presAssocID="{5C0B2C50-47B3-41D4-910B-4BEE93BB6C62}" presName="hierChild2" presStyleCnt="0"/>
      <dgm:spPr/>
    </dgm:pt>
  </dgm:ptLst>
  <dgm:cxnLst>
    <dgm:cxn modelId="{CE0F0621-6305-4347-A03D-56ED1629FBF2}" type="presOf" srcId="{5C0B2C50-47B3-41D4-910B-4BEE93BB6C62}" destId="{E236CB0D-DB5E-6741-9FC9-D6CA9DFED182}" srcOrd="0" destOrd="0" presId="urn:microsoft.com/office/officeart/2005/8/layout/hierarchy1"/>
    <dgm:cxn modelId="{23652436-339E-47C3-AB9B-7E8E87E5BF2A}" srcId="{10E470F1-5D32-48E6-8EA8-20186F51E420}" destId="{0EABC42B-4F3D-472A-B0FE-7C5A75185314}" srcOrd="1" destOrd="0" parTransId="{C3BDFB18-66A7-4E85-9C88-C33AAF4A3832}" sibTransId="{04B4B7C4-17EC-46F3-A86A-733916242EAB}"/>
    <dgm:cxn modelId="{B08B7853-016E-B64A-8CF6-E697B3DD9270}" type="presOf" srcId="{0EABC42B-4F3D-472A-B0FE-7C5A75185314}" destId="{AD59DDEC-EAB0-A44B-A267-C041999E7D24}" srcOrd="0" destOrd="0" presId="urn:microsoft.com/office/officeart/2005/8/layout/hierarchy1"/>
    <dgm:cxn modelId="{8EA9BA86-D888-1541-8069-9AD8D41F5F10}" type="presOf" srcId="{10E470F1-5D32-48E6-8EA8-20186F51E420}" destId="{0CBD9318-3691-0A48-86BF-D9D0CBAE67FA}" srcOrd="0" destOrd="0" presId="urn:microsoft.com/office/officeart/2005/8/layout/hierarchy1"/>
    <dgm:cxn modelId="{54CF0C9A-DD5F-41EE-982F-A58E2986A672}" srcId="{10E470F1-5D32-48E6-8EA8-20186F51E420}" destId="{5C0B2C50-47B3-41D4-910B-4BEE93BB6C62}" srcOrd="2" destOrd="0" parTransId="{C7A29592-CB75-4571-97C5-EDB8519F0E51}" sibTransId="{E9F8BF0C-52D0-45A2-8401-5F454780ABF7}"/>
    <dgm:cxn modelId="{D9ECA3D2-1CF4-48A1-8015-628BE41CA856}" srcId="{10E470F1-5D32-48E6-8EA8-20186F51E420}" destId="{3694F122-4140-4848-9D9F-C2343FBE88AD}" srcOrd="0" destOrd="0" parTransId="{757CA7D7-1333-4C64-9D48-51336024987F}" sibTransId="{5603D5DD-B750-44DE-9485-81692F8EFB9C}"/>
    <dgm:cxn modelId="{8DF151D7-4B1A-6B46-BA86-98FBE6D56D5F}" type="presOf" srcId="{3694F122-4140-4848-9D9F-C2343FBE88AD}" destId="{CD844DDC-2122-B249-A2B6-1F99BCAE8EDF}" srcOrd="0" destOrd="0" presId="urn:microsoft.com/office/officeart/2005/8/layout/hierarchy1"/>
    <dgm:cxn modelId="{E3BB223C-7D87-4343-A530-BADD97F0B7B8}" type="presParOf" srcId="{0CBD9318-3691-0A48-86BF-D9D0CBAE67FA}" destId="{C3A6F6A8-DCAB-2849-BB7A-6A5314392B00}" srcOrd="0" destOrd="0" presId="urn:microsoft.com/office/officeart/2005/8/layout/hierarchy1"/>
    <dgm:cxn modelId="{34993232-822C-D948-B3B1-C404D24D2C1E}" type="presParOf" srcId="{C3A6F6A8-DCAB-2849-BB7A-6A5314392B00}" destId="{7BA21C85-BD7B-6F4E-8318-B20E4F00B6B0}" srcOrd="0" destOrd="0" presId="urn:microsoft.com/office/officeart/2005/8/layout/hierarchy1"/>
    <dgm:cxn modelId="{FA9EEEB1-E388-7F40-BC1E-8966B036C4B6}" type="presParOf" srcId="{7BA21C85-BD7B-6F4E-8318-B20E4F00B6B0}" destId="{43CDEB23-6A31-3D4C-8052-F26830C36882}" srcOrd="0" destOrd="0" presId="urn:microsoft.com/office/officeart/2005/8/layout/hierarchy1"/>
    <dgm:cxn modelId="{3B76A0CD-A4D9-3841-BB5C-4DCF9EBAEC6A}" type="presParOf" srcId="{7BA21C85-BD7B-6F4E-8318-B20E4F00B6B0}" destId="{CD844DDC-2122-B249-A2B6-1F99BCAE8EDF}" srcOrd="1" destOrd="0" presId="urn:microsoft.com/office/officeart/2005/8/layout/hierarchy1"/>
    <dgm:cxn modelId="{F79B7ABE-405D-8A48-8770-E868A800C536}" type="presParOf" srcId="{C3A6F6A8-DCAB-2849-BB7A-6A5314392B00}" destId="{BD005354-5585-034F-B21F-2790F307BF79}" srcOrd="1" destOrd="0" presId="urn:microsoft.com/office/officeart/2005/8/layout/hierarchy1"/>
    <dgm:cxn modelId="{A7789BE9-ED81-A24C-BAD4-93A13567DDF3}" type="presParOf" srcId="{0CBD9318-3691-0A48-86BF-D9D0CBAE67FA}" destId="{D8C0E330-0BA2-084C-9D24-927A00F9551F}" srcOrd="1" destOrd="0" presId="urn:microsoft.com/office/officeart/2005/8/layout/hierarchy1"/>
    <dgm:cxn modelId="{24CABB21-914E-2F4B-BD1B-19E586499CF8}" type="presParOf" srcId="{D8C0E330-0BA2-084C-9D24-927A00F9551F}" destId="{982628CD-6ACD-434A-BF59-6E19E1CC8769}" srcOrd="0" destOrd="0" presId="urn:microsoft.com/office/officeart/2005/8/layout/hierarchy1"/>
    <dgm:cxn modelId="{C562FC1B-86D0-6F4C-B036-DA69FC55D8C6}" type="presParOf" srcId="{982628CD-6ACD-434A-BF59-6E19E1CC8769}" destId="{0B275EA0-DCC2-4141-8819-6637B27D44F4}" srcOrd="0" destOrd="0" presId="urn:microsoft.com/office/officeart/2005/8/layout/hierarchy1"/>
    <dgm:cxn modelId="{B0E0DF17-4546-E243-87EA-99482909B7A5}" type="presParOf" srcId="{982628CD-6ACD-434A-BF59-6E19E1CC8769}" destId="{AD59DDEC-EAB0-A44B-A267-C041999E7D24}" srcOrd="1" destOrd="0" presId="urn:microsoft.com/office/officeart/2005/8/layout/hierarchy1"/>
    <dgm:cxn modelId="{65E66E2B-E82F-FC48-AC82-B24B884021A7}" type="presParOf" srcId="{D8C0E330-0BA2-084C-9D24-927A00F9551F}" destId="{0E36ED1C-B7A0-4F42-B520-039DEF943E70}" srcOrd="1" destOrd="0" presId="urn:microsoft.com/office/officeart/2005/8/layout/hierarchy1"/>
    <dgm:cxn modelId="{F6C77F1A-5DDE-104B-8275-F2283381021A}" type="presParOf" srcId="{0CBD9318-3691-0A48-86BF-D9D0CBAE67FA}" destId="{AC10B55E-D4C3-4B45-B35B-0F14AA87CF06}" srcOrd="2" destOrd="0" presId="urn:microsoft.com/office/officeart/2005/8/layout/hierarchy1"/>
    <dgm:cxn modelId="{4D7869D2-7A1A-DF48-B3B5-343A6287D15D}" type="presParOf" srcId="{AC10B55E-D4C3-4B45-B35B-0F14AA87CF06}" destId="{4556FB91-B637-784D-B58C-F44D7A98A60F}" srcOrd="0" destOrd="0" presId="urn:microsoft.com/office/officeart/2005/8/layout/hierarchy1"/>
    <dgm:cxn modelId="{5553F1E0-8F5A-3A47-83C3-A63E88B9B505}" type="presParOf" srcId="{4556FB91-B637-784D-B58C-F44D7A98A60F}" destId="{52D80279-547E-7A48-84C5-80DDD57C73FF}" srcOrd="0" destOrd="0" presId="urn:microsoft.com/office/officeart/2005/8/layout/hierarchy1"/>
    <dgm:cxn modelId="{D169FCAC-43E4-8C4D-92FB-9E88AD809174}" type="presParOf" srcId="{4556FB91-B637-784D-B58C-F44D7A98A60F}" destId="{E236CB0D-DB5E-6741-9FC9-D6CA9DFED182}" srcOrd="1" destOrd="0" presId="urn:microsoft.com/office/officeart/2005/8/layout/hierarchy1"/>
    <dgm:cxn modelId="{1B201443-3B98-B043-870A-03C1C2A8B316}" type="presParOf" srcId="{AC10B55E-D4C3-4B45-B35B-0F14AA87CF06}" destId="{B3058831-1F8F-3349-B4B4-40E8AE929872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CED47C-38E7-467C-8A1C-1BD722891462}" type="doc">
      <dgm:prSet loTypeId="urn:microsoft.com/office/officeart/2005/8/layout/list1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F8C36AC-D358-44C1-8CCF-864E48E9EE34}">
      <dgm:prSet phldrT="[Text]"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 </a:t>
          </a:r>
          <a:r>
            <a:rPr lang="en-US" b="1" dirty="0">
              <a:solidFill>
                <a:schemeClr val="tx1"/>
              </a:solidFill>
              <a:latin typeface="Calibri" panose="020F0502020204030204"/>
            </a:rPr>
            <a:t>Submit your Data! </a:t>
          </a:r>
        </a:p>
      </dgm:t>
    </dgm:pt>
    <dgm:pt modelId="{77454E31-4BF7-45E4-A61C-C06BAD198ECF}" type="parTrans" cxnId="{F1C85135-8472-433E-98BE-532497A42780}">
      <dgm:prSet/>
      <dgm:spPr/>
      <dgm:t>
        <a:bodyPr/>
        <a:lstStyle/>
        <a:p>
          <a:endParaRPr lang="en-US"/>
        </a:p>
      </dgm:t>
    </dgm:pt>
    <dgm:pt modelId="{62C93ADB-50F5-4FEA-A9D2-CBD05A488FB7}" type="sibTrans" cxnId="{F1C85135-8472-433E-98BE-532497A42780}">
      <dgm:prSet/>
      <dgm:spPr/>
      <dgm:t>
        <a:bodyPr/>
        <a:lstStyle/>
        <a:p>
          <a:endParaRPr lang="en-US"/>
        </a:p>
      </dgm:t>
    </dgm:pt>
    <dgm:pt modelId="{277CB91B-1C42-48E8-9BA7-10FC79E64F8E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tx1"/>
              </a:solidFill>
              <a:latin typeface="Calibri" panose="020F0502020204030204"/>
            </a:rPr>
            <a:t>Call for QI Abstracts! </a:t>
          </a:r>
          <a:endParaRPr lang="en-US" b="1" dirty="0">
            <a:solidFill>
              <a:schemeClr val="tx1"/>
            </a:solidFill>
          </a:endParaRPr>
        </a:p>
      </dgm:t>
    </dgm:pt>
    <dgm:pt modelId="{03D7C569-4529-4991-A0C2-8E79BCD76571}" type="parTrans" cxnId="{DBC449FF-D23E-4F26-BCA7-82B94996073D}">
      <dgm:prSet/>
      <dgm:spPr/>
      <dgm:t>
        <a:bodyPr/>
        <a:lstStyle/>
        <a:p>
          <a:endParaRPr lang="en-US"/>
        </a:p>
      </dgm:t>
    </dgm:pt>
    <dgm:pt modelId="{93624452-662B-4F58-934A-EBE2E5B0D4AB}" type="sibTrans" cxnId="{DBC449FF-D23E-4F26-BCA7-82B94996073D}">
      <dgm:prSet/>
      <dgm:spPr/>
      <dgm:t>
        <a:bodyPr/>
        <a:lstStyle/>
        <a:p>
          <a:endParaRPr lang="en-US"/>
        </a:p>
      </dgm:t>
    </dgm:pt>
    <dgm:pt modelId="{78D4CC8F-2595-4059-ACA1-7005FE483A37}">
      <dgm:prSet phldrT="[Text]"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 </a:t>
          </a:r>
          <a:r>
            <a:rPr lang="en-US" b="1" dirty="0">
              <a:latin typeface="Calibri" panose="020F0502020204030204"/>
            </a:rPr>
            <a:t>Info coming soon!</a:t>
          </a:r>
          <a:r>
            <a:rPr lang="en-US" dirty="0">
              <a:latin typeface="Calibri" panose="020F0502020204030204"/>
            </a:rPr>
            <a:t> All hospital teams are asked to submit an abstract on their QI work (can be in progress).</a:t>
          </a:r>
          <a:endParaRPr lang="en-US" dirty="0"/>
        </a:p>
      </dgm:t>
    </dgm:pt>
    <dgm:pt modelId="{A251C99C-8B3D-40DF-81A9-D7542C43875E}" type="parTrans" cxnId="{4FCE7C92-D06E-417F-8E44-A664565D79CE}">
      <dgm:prSet/>
      <dgm:spPr/>
      <dgm:t>
        <a:bodyPr/>
        <a:lstStyle/>
        <a:p>
          <a:endParaRPr lang="en-US"/>
        </a:p>
      </dgm:t>
    </dgm:pt>
    <dgm:pt modelId="{881FC4F4-45E5-4ACC-B91A-47999364CD20}" type="sibTrans" cxnId="{4FCE7C92-D06E-417F-8E44-A664565D79CE}">
      <dgm:prSet/>
      <dgm:spPr/>
      <dgm:t>
        <a:bodyPr/>
        <a:lstStyle/>
        <a:p>
          <a:endParaRPr lang="en-US"/>
        </a:p>
      </dgm:t>
    </dgm:pt>
    <dgm:pt modelId="{6F528CE6-C1A3-4D2B-81A0-CFCEB0EBAD90}">
      <dgm:prSet phldr="0"/>
      <dgm:spPr/>
      <dgm:t>
        <a:bodyPr/>
        <a:lstStyle/>
        <a:p>
          <a:pPr rtl="0"/>
          <a:r>
            <a:rPr lang="en-US" b="1" u="none" dirty="0">
              <a:solidFill>
                <a:schemeClr val="tx1"/>
              </a:solidFill>
              <a:latin typeface="Calibri" panose="020F0502020204030204"/>
            </a:rPr>
            <a:t>ILPQC Annual Conference </a:t>
          </a:r>
          <a:r>
            <a:rPr lang="en-US" b="1" dirty="0">
              <a:solidFill>
                <a:schemeClr val="tx1"/>
              </a:solidFill>
              <a:latin typeface="Calibri" panose="020F0502020204030204"/>
            </a:rPr>
            <a:t>Survey! </a:t>
          </a:r>
        </a:p>
      </dgm:t>
    </dgm:pt>
    <dgm:pt modelId="{62346CA0-5B88-4CE8-914A-B6CEB57871F1}" type="parTrans" cxnId="{B6080AEF-5965-4743-A061-CDC32CC39582}">
      <dgm:prSet/>
      <dgm:spPr/>
      <dgm:t>
        <a:bodyPr/>
        <a:lstStyle/>
        <a:p>
          <a:endParaRPr lang="en-US"/>
        </a:p>
      </dgm:t>
    </dgm:pt>
    <dgm:pt modelId="{45C9E60D-23B6-41EB-9B7D-9BC15733F6D1}" type="sibTrans" cxnId="{B6080AEF-5965-4743-A061-CDC32CC39582}">
      <dgm:prSet/>
      <dgm:spPr/>
      <dgm:t>
        <a:bodyPr/>
        <a:lstStyle/>
        <a:p>
          <a:endParaRPr lang="en-US"/>
        </a:p>
      </dgm:t>
    </dgm:pt>
    <dgm:pt modelId="{9A286409-755C-47F6-978F-0B1056CDF2D2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We want to hear from you! </a:t>
          </a:r>
          <a:r>
            <a:rPr lang="en-US" b="1" dirty="0">
              <a:latin typeface="Calibri" panose="020F0502020204030204"/>
            </a:rPr>
            <a:t>Survey opening soon! </a:t>
          </a:r>
          <a:endParaRPr lang="en-US" b="1" dirty="0"/>
        </a:p>
      </dgm:t>
    </dgm:pt>
    <dgm:pt modelId="{9291BA0D-48AB-4364-A092-0919F94C1470}" type="parTrans" cxnId="{8D6E092E-58C8-4D72-B870-0D2F549755C5}">
      <dgm:prSet/>
      <dgm:spPr/>
      <dgm:t>
        <a:bodyPr/>
        <a:lstStyle/>
        <a:p>
          <a:endParaRPr lang="en-US"/>
        </a:p>
      </dgm:t>
    </dgm:pt>
    <dgm:pt modelId="{EDFE8248-1123-45BE-80CC-ED04D63ECAF9}" type="sibTrans" cxnId="{8D6E092E-58C8-4D72-B870-0D2F549755C5}">
      <dgm:prSet/>
      <dgm:spPr/>
      <dgm:t>
        <a:bodyPr/>
        <a:lstStyle/>
        <a:p>
          <a:endParaRPr lang="en-US"/>
        </a:p>
      </dgm:t>
    </dgm:pt>
    <dgm:pt modelId="{F521A60E-AF20-4BC8-BB3E-652F6286D34A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This is a great opportunity to share your teams' thoughts &amp; insights reflecting on 2024 and planning for 2025!</a:t>
          </a:r>
        </a:p>
      </dgm:t>
    </dgm:pt>
    <dgm:pt modelId="{B9351DEB-1B71-494B-81A5-B8A2DF00679D}" type="parTrans" cxnId="{07D213BB-362D-4146-B0ED-D8CC3F3F30C5}">
      <dgm:prSet/>
      <dgm:spPr/>
      <dgm:t>
        <a:bodyPr/>
        <a:lstStyle/>
        <a:p>
          <a:endParaRPr lang="en-US"/>
        </a:p>
      </dgm:t>
    </dgm:pt>
    <dgm:pt modelId="{50985435-0157-41A4-B0CC-BC30B5F0CED9}" type="sibTrans" cxnId="{07D213BB-362D-4146-B0ED-D8CC3F3F30C5}">
      <dgm:prSet/>
      <dgm:spPr/>
      <dgm:t>
        <a:bodyPr/>
        <a:lstStyle/>
        <a:p>
          <a:endParaRPr lang="en-US"/>
        </a:p>
      </dgm:t>
    </dgm:pt>
    <dgm:pt modelId="{7DB66FD1-DB95-4E83-9973-27B94C4E32F0}">
      <dgm:prSet phldr="0"/>
      <dgm:spPr/>
      <dgm:t>
        <a:bodyPr/>
        <a:lstStyle/>
        <a:p>
          <a:r>
            <a:rPr lang="en-US" dirty="0">
              <a:latin typeface="Calibri" panose="020F0502020204030204"/>
            </a:rPr>
            <a:t>All data baseline-August 2024 will be </a:t>
          </a:r>
          <a:r>
            <a:rPr lang="en-US" b="1" dirty="0">
              <a:latin typeface="Calibri" panose="020F0502020204030204"/>
            </a:rPr>
            <a:t>due on September 27th, 2024,</a:t>
          </a:r>
          <a:r>
            <a:rPr lang="en-US" dirty="0">
              <a:latin typeface="Calibri" panose="020F0502020204030204"/>
            </a:rPr>
            <a:t> for award consideration.</a:t>
          </a:r>
          <a:endParaRPr lang="en-US" b="1" dirty="0"/>
        </a:p>
      </dgm:t>
    </dgm:pt>
    <dgm:pt modelId="{8ADBA68A-2F57-443B-A36D-89F41C697784}" type="parTrans" cxnId="{D091DFF4-39E8-4F5A-B8FF-9951A0C5E310}">
      <dgm:prSet/>
      <dgm:spPr/>
      <dgm:t>
        <a:bodyPr/>
        <a:lstStyle/>
        <a:p>
          <a:endParaRPr lang="en-US"/>
        </a:p>
      </dgm:t>
    </dgm:pt>
    <dgm:pt modelId="{CBC0D908-B9A4-4932-BF1F-5715E8C42184}" type="sibTrans" cxnId="{D091DFF4-39E8-4F5A-B8FF-9951A0C5E310}">
      <dgm:prSet/>
      <dgm:spPr/>
      <dgm:t>
        <a:bodyPr/>
        <a:lstStyle/>
        <a:p>
          <a:endParaRPr lang="en-US"/>
        </a:p>
      </dgm:t>
    </dgm:pt>
    <dgm:pt modelId="{7DE4044A-91ED-4C0D-84FC-AFAFFCE36CC7}" type="pres">
      <dgm:prSet presAssocID="{92CED47C-38E7-467C-8A1C-1BD722891462}" presName="linear" presStyleCnt="0">
        <dgm:presLayoutVars>
          <dgm:dir/>
          <dgm:animLvl val="lvl"/>
          <dgm:resizeHandles val="exact"/>
        </dgm:presLayoutVars>
      </dgm:prSet>
      <dgm:spPr/>
    </dgm:pt>
    <dgm:pt modelId="{0AF318F5-4834-4567-8FBD-BAC7ADA6E4BF}" type="pres">
      <dgm:prSet presAssocID="{DF8C36AC-D358-44C1-8CCF-864E48E9EE34}" presName="parentLin" presStyleCnt="0"/>
      <dgm:spPr/>
    </dgm:pt>
    <dgm:pt modelId="{01652856-29DD-4888-97C1-C7B2FCEF24C9}" type="pres">
      <dgm:prSet presAssocID="{DF8C36AC-D358-44C1-8CCF-864E48E9EE34}" presName="parentLeftMargin" presStyleLbl="node1" presStyleIdx="0" presStyleCnt="3"/>
      <dgm:spPr/>
    </dgm:pt>
    <dgm:pt modelId="{717BC3C2-DA22-4D51-A406-9086CACDDF9B}" type="pres">
      <dgm:prSet presAssocID="{DF8C36AC-D358-44C1-8CCF-864E48E9EE34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4A28FF3-818A-4AA3-9665-79EF4E644B0D}" type="pres">
      <dgm:prSet presAssocID="{DF8C36AC-D358-44C1-8CCF-864E48E9EE34}" presName="negativeSpace" presStyleCnt="0"/>
      <dgm:spPr/>
    </dgm:pt>
    <dgm:pt modelId="{42DD2E0E-F49E-4BE0-95A3-709CC9C0A47F}" type="pres">
      <dgm:prSet presAssocID="{DF8C36AC-D358-44C1-8CCF-864E48E9EE34}" presName="childText" presStyleLbl="conFgAcc1" presStyleIdx="0" presStyleCnt="3">
        <dgm:presLayoutVars>
          <dgm:bulletEnabled val="1"/>
        </dgm:presLayoutVars>
      </dgm:prSet>
      <dgm:spPr/>
    </dgm:pt>
    <dgm:pt modelId="{96D6F8AA-A05E-497C-B1A2-9318F555889E}" type="pres">
      <dgm:prSet presAssocID="{62C93ADB-50F5-4FEA-A9D2-CBD05A488FB7}" presName="spaceBetweenRectangles" presStyleCnt="0"/>
      <dgm:spPr/>
    </dgm:pt>
    <dgm:pt modelId="{5EDFE944-C54E-4409-BF67-DBDA9FFC256E}" type="pres">
      <dgm:prSet presAssocID="{277CB91B-1C42-48E8-9BA7-10FC79E64F8E}" presName="parentLin" presStyleCnt="0"/>
      <dgm:spPr/>
    </dgm:pt>
    <dgm:pt modelId="{87C4B48B-7C7D-4887-B26E-D734DA9A8C50}" type="pres">
      <dgm:prSet presAssocID="{277CB91B-1C42-48E8-9BA7-10FC79E64F8E}" presName="parentLeftMargin" presStyleLbl="node1" presStyleIdx="0" presStyleCnt="3"/>
      <dgm:spPr/>
    </dgm:pt>
    <dgm:pt modelId="{C8372599-BDA9-4E62-9184-ABA50695DEAE}" type="pres">
      <dgm:prSet presAssocID="{277CB91B-1C42-48E8-9BA7-10FC79E64F8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42C1C7A-827F-45AF-84C9-2577967EF3C1}" type="pres">
      <dgm:prSet presAssocID="{277CB91B-1C42-48E8-9BA7-10FC79E64F8E}" presName="negativeSpace" presStyleCnt="0"/>
      <dgm:spPr/>
    </dgm:pt>
    <dgm:pt modelId="{6C17968B-3B40-4894-B40F-C49EEEEE87D3}" type="pres">
      <dgm:prSet presAssocID="{277CB91B-1C42-48E8-9BA7-10FC79E64F8E}" presName="childText" presStyleLbl="conFgAcc1" presStyleIdx="1" presStyleCnt="3">
        <dgm:presLayoutVars>
          <dgm:bulletEnabled val="1"/>
        </dgm:presLayoutVars>
      </dgm:prSet>
      <dgm:spPr/>
    </dgm:pt>
    <dgm:pt modelId="{6D9D424A-D22D-4A76-852C-DEFDD3829FDE}" type="pres">
      <dgm:prSet presAssocID="{93624452-662B-4F58-934A-EBE2E5B0D4AB}" presName="spaceBetweenRectangles" presStyleCnt="0"/>
      <dgm:spPr/>
    </dgm:pt>
    <dgm:pt modelId="{FF60C45A-813C-4053-A09D-7269275F80DB}" type="pres">
      <dgm:prSet presAssocID="{6F528CE6-C1A3-4D2B-81A0-CFCEB0EBAD90}" presName="parentLin" presStyleCnt="0"/>
      <dgm:spPr/>
    </dgm:pt>
    <dgm:pt modelId="{BAFEC78A-8DAD-47F6-AE20-1A6B32AC01A4}" type="pres">
      <dgm:prSet presAssocID="{6F528CE6-C1A3-4D2B-81A0-CFCEB0EBAD90}" presName="parentLeftMargin" presStyleLbl="node1" presStyleIdx="1" presStyleCnt="3"/>
      <dgm:spPr/>
    </dgm:pt>
    <dgm:pt modelId="{ECEB8BDC-F220-41C1-B502-A535EC67DE59}" type="pres">
      <dgm:prSet presAssocID="{6F528CE6-C1A3-4D2B-81A0-CFCEB0EBAD9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E42D628-BBA6-4E36-AA67-F2E179A15711}" type="pres">
      <dgm:prSet presAssocID="{6F528CE6-C1A3-4D2B-81A0-CFCEB0EBAD90}" presName="negativeSpace" presStyleCnt="0"/>
      <dgm:spPr/>
    </dgm:pt>
    <dgm:pt modelId="{E42B4496-FBF8-4DC9-AF60-BFE77B144112}" type="pres">
      <dgm:prSet presAssocID="{6F528CE6-C1A3-4D2B-81A0-CFCEB0EBAD9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689E2010-A57F-4069-8200-CA3F718006C6}" type="presOf" srcId="{6F528CE6-C1A3-4D2B-81A0-CFCEB0EBAD90}" destId="{BAFEC78A-8DAD-47F6-AE20-1A6B32AC01A4}" srcOrd="0" destOrd="0" presId="urn:microsoft.com/office/officeart/2005/8/layout/list1"/>
    <dgm:cxn modelId="{52E3AE29-C5CC-4C79-9B26-CB7C82A1B121}" type="presOf" srcId="{6F528CE6-C1A3-4D2B-81A0-CFCEB0EBAD90}" destId="{ECEB8BDC-F220-41C1-B502-A535EC67DE59}" srcOrd="1" destOrd="0" presId="urn:microsoft.com/office/officeart/2005/8/layout/list1"/>
    <dgm:cxn modelId="{CEE86E2C-B6FA-4185-B7D7-1277DB647415}" type="presOf" srcId="{DF8C36AC-D358-44C1-8CCF-864E48E9EE34}" destId="{717BC3C2-DA22-4D51-A406-9086CACDDF9B}" srcOrd="1" destOrd="0" presId="urn:microsoft.com/office/officeart/2005/8/layout/list1"/>
    <dgm:cxn modelId="{ABBFFE2D-DDF7-4F85-BE66-4DCEC96F45D5}" type="presOf" srcId="{DF8C36AC-D358-44C1-8CCF-864E48E9EE34}" destId="{01652856-29DD-4888-97C1-C7B2FCEF24C9}" srcOrd="0" destOrd="0" presId="urn:microsoft.com/office/officeart/2005/8/layout/list1"/>
    <dgm:cxn modelId="{8D6E092E-58C8-4D72-B870-0D2F549755C5}" srcId="{6F528CE6-C1A3-4D2B-81A0-CFCEB0EBAD90}" destId="{9A286409-755C-47F6-978F-0B1056CDF2D2}" srcOrd="0" destOrd="0" parTransId="{9291BA0D-48AB-4364-A092-0919F94C1470}" sibTransId="{EDFE8248-1123-45BE-80CC-ED04D63ECAF9}"/>
    <dgm:cxn modelId="{F1C85135-8472-433E-98BE-532497A42780}" srcId="{92CED47C-38E7-467C-8A1C-1BD722891462}" destId="{DF8C36AC-D358-44C1-8CCF-864E48E9EE34}" srcOrd="0" destOrd="0" parTransId="{77454E31-4BF7-45E4-A61C-C06BAD198ECF}" sibTransId="{62C93ADB-50F5-4FEA-A9D2-CBD05A488FB7}"/>
    <dgm:cxn modelId="{DA88B244-F5E5-4611-97DA-659C633A7587}" type="presOf" srcId="{277CB91B-1C42-48E8-9BA7-10FC79E64F8E}" destId="{87C4B48B-7C7D-4887-B26E-D734DA9A8C50}" srcOrd="0" destOrd="0" presId="urn:microsoft.com/office/officeart/2005/8/layout/list1"/>
    <dgm:cxn modelId="{96164656-556B-4B15-8824-70096B5A10BD}" type="presOf" srcId="{9A286409-755C-47F6-978F-0B1056CDF2D2}" destId="{E42B4496-FBF8-4DC9-AF60-BFE77B144112}" srcOrd="0" destOrd="0" presId="urn:microsoft.com/office/officeart/2005/8/layout/list1"/>
    <dgm:cxn modelId="{11047979-4753-4BCF-91C8-FE4A8274277B}" type="presOf" srcId="{F521A60E-AF20-4BC8-BB3E-652F6286D34A}" destId="{E42B4496-FBF8-4DC9-AF60-BFE77B144112}" srcOrd="0" destOrd="1" presId="urn:microsoft.com/office/officeart/2005/8/layout/list1"/>
    <dgm:cxn modelId="{CB76AE88-F6B6-4082-AB18-69E71E6EF410}" type="presOf" srcId="{277CB91B-1C42-48E8-9BA7-10FC79E64F8E}" destId="{C8372599-BDA9-4E62-9184-ABA50695DEAE}" srcOrd="1" destOrd="0" presId="urn:microsoft.com/office/officeart/2005/8/layout/list1"/>
    <dgm:cxn modelId="{4FCE7C92-D06E-417F-8E44-A664565D79CE}" srcId="{277CB91B-1C42-48E8-9BA7-10FC79E64F8E}" destId="{78D4CC8F-2595-4059-ACA1-7005FE483A37}" srcOrd="0" destOrd="0" parTransId="{A251C99C-8B3D-40DF-81A9-D7542C43875E}" sibTransId="{881FC4F4-45E5-4ACC-B91A-47999364CD20}"/>
    <dgm:cxn modelId="{46EEE999-2E03-44F0-A90F-B50F08D0E928}" type="presOf" srcId="{78D4CC8F-2595-4059-ACA1-7005FE483A37}" destId="{6C17968B-3B40-4894-B40F-C49EEEEE87D3}" srcOrd="0" destOrd="0" presId="urn:microsoft.com/office/officeart/2005/8/layout/list1"/>
    <dgm:cxn modelId="{07D213BB-362D-4146-B0ED-D8CC3F3F30C5}" srcId="{6F528CE6-C1A3-4D2B-81A0-CFCEB0EBAD90}" destId="{F521A60E-AF20-4BC8-BB3E-652F6286D34A}" srcOrd="1" destOrd="0" parTransId="{B9351DEB-1B71-494B-81A5-B8A2DF00679D}" sibTransId="{50985435-0157-41A4-B0CC-BC30B5F0CED9}"/>
    <dgm:cxn modelId="{B88307E1-DB9A-4185-9FD6-DC8C1FDCC158}" type="presOf" srcId="{92CED47C-38E7-467C-8A1C-1BD722891462}" destId="{7DE4044A-91ED-4C0D-84FC-AFAFFCE36CC7}" srcOrd="0" destOrd="0" presId="urn:microsoft.com/office/officeart/2005/8/layout/list1"/>
    <dgm:cxn modelId="{BD6ED9E6-8181-4AA6-A77D-C77FAC08F3CC}" type="presOf" srcId="{7DB66FD1-DB95-4E83-9973-27B94C4E32F0}" destId="{42DD2E0E-F49E-4BE0-95A3-709CC9C0A47F}" srcOrd="0" destOrd="0" presId="urn:microsoft.com/office/officeart/2005/8/layout/list1"/>
    <dgm:cxn modelId="{B6080AEF-5965-4743-A061-CDC32CC39582}" srcId="{92CED47C-38E7-467C-8A1C-1BD722891462}" destId="{6F528CE6-C1A3-4D2B-81A0-CFCEB0EBAD90}" srcOrd="2" destOrd="0" parTransId="{62346CA0-5B88-4CE8-914A-B6CEB57871F1}" sibTransId="{45C9E60D-23B6-41EB-9B7D-9BC15733F6D1}"/>
    <dgm:cxn modelId="{D091DFF4-39E8-4F5A-B8FF-9951A0C5E310}" srcId="{DF8C36AC-D358-44C1-8CCF-864E48E9EE34}" destId="{7DB66FD1-DB95-4E83-9973-27B94C4E32F0}" srcOrd="0" destOrd="0" parTransId="{8ADBA68A-2F57-443B-A36D-89F41C697784}" sibTransId="{CBC0D908-B9A4-4932-BF1F-5715E8C42184}"/>
    <dgm:cxn modelId="{DBC449FF-D23E-4F26-BCA7-82B94996073D}" srcId="{92CED47C-38E7-467C-8A1C-1BD722891462}" destId="{277CB91B-1C42-48E8-9BA7-10FC79E64F8E}" srcOrd="1" destOrd="0" parTransId="{03D7C569-4529-4991-A0C2-8E79BCD76571}" sibTransId="{93624452-662B-4F58-934A-EBE2E5B0D4AB}"/>
    <dgm:cxn modelId="{F598E0C5-698C-4C12-A200-96A226695F17}" type="presParOf" srcId="{7DE4044A-91ED-4C0D-84FC-AFAFFCE36CC7}" destId="{0AF318F5-4834-4567-8FBD-BAC7ADA6E4BF}" srcOrd="0" destOrd="0" presId="urn:microsoft.com/office/officeart/2005/8/layout/list1"/>
    <dgm:cxn modelId="{70251976-2130-4A94-B16A-3B5A9305CA4C}" type="presParOf" srcId="{0AF318F5-4834-4567-8FBD-BAC7ADA6E4BF}" destId="{01652856-29DD-4888-97C1-C7B2FCEF24C9}" srcOrd="0" destOrd="0" presId="urn:microsoft.com/office/officeart/2005/8/layout/list1"/>
    <dgm:cxn modelId="{7E5DF192-5CA2-4743-8D91-DA01A23D9FBA}" type="presParOf" srcId="{0AF318F5-4834-4567-8FBD-BAC7ADA6E4BF}" destId="{717BC3C2-DA22-4D51-A406-9086CACDDF9B}" srcOrd="1" destOrd="0" presId="urn:microsoft.com/office/officeart/2005/8/layout/list1"/>
    <dgm:cxn modelId="{587F3F18-48F1-4286-A694-4A4837377C2F}" type="presParOf" srcId="{7DE4044A-91ED-4C0D-84FC-AFAFFCE36CC7}" destId="{04A28FF3-818A-4AA3-9665-79EF4E644B0D}" srcOrd="1" destOrd="0" presId="urn:microsoft.com/office/officeart/2005/8/layout/list1"/>
    <dgm:cxn modelId="{9F96B43D-B488-4FA7-8F81-18FF593519A1}" type="presParOf" srcId="{7DE4044A-91ED-4C0D-84FC-AFAFFCE36CC7}" destId="{42DD2E0E-F49E-4BE0-95A3-709CC9C0A47F}" srcOrd="2" destOrd="0" presId="urn:microsoft.com/office/officeart/2005/8/layout/list1"/>
    <dgm:cxn modelId="{08E7A6ED-E07F-4F22-848B-04309F821B43}" type="presParOf" srcId="{7DE4044A-91ED-4C0D-84FC-AFAFFCE36CC7}" destId="{96D6F8AA-A05E-497C-B1A2-9318F555889E}" srcOrd="3" destOrd="0" presId="urn:microsoft.com/office/officeart/2005/8/layout/list1"/>
    <dgm:cxn modelId="{E899D341-20F3-4075-B6A4-B66CDC8E5253}" type="presParOf" srcId="{7DE4044A-91ED-4C0D-84FC-AFAFFCE36CC7}" destId="{5EDFE944-C54E-4409-BF67-DBDA9FFC256E}" srcOrd="4" destOrd="0" presId="urn:microsoft.com/office/officeart/2005/8/layout/list1"/>
    <dgm:cxn modelId="{EAD0CA07-7229-47DB-8397-299350D240F8}" type="presParOf" srcId="{5EDFE944-C54E-4409-BF67-DBDA9FFC256E}" destId="{87C4B48B-7C7D-4887-B26E-D734DA9A8C50}" srcOrd="0" destOrd="0" presId="urn:microsoft.com/office/officeart/2005/8/layout/list1"/>
    <dgm:cxn modelId="{1125D0F0-7743-4E52-941F-124BBA4FBFB1}" type="presParOf" srcId="{5EDFE944-C54E-4409-BF67-DBDA9FFC256E}" destId="{C8372599-BDA9-4E62-9184-ABA50695DEAE}" srcOrd="1" destOrd="0" presId="urn:microsoft.com/office/officeart/2005/8/layout/list1"/>
    <dgm:cxn modelId="{41827606-E482-451B-B7CA-35C3BAC5D202}" type="presParOf" srcId="{7DE4044A-91ED-4C0D-84FC-AFAFFCE36CC7}" destId="{242C1C7A-827F-45AF-84C9-2577967EF3C1}" srcOrd="5" destOrd="0" presId="urn:microsoft.com/office/officeart/2005/8/layout/list1"/>
    <dgm:cxn modelId="{571DCCBA-4A66-4C4D-90E9-7EC330E3B65B}" type="presParOf" srcId="{7DE4044A-91ED-4C0D-84FC-AFAFFCE36CC7}" destId="{6C17968B-3B40-4894-B40F-C49EEEEE87D3}" srcOrd="6" destOrd="0" presId="urn:microsoft.com/office/officeart/2005/8/layout/list1"/>
    <dgm:cxn modelId="{828C073A-CFB1-4DF4-B5AA-4AA7A1230DD9}" type="presParOf" srcId="{7DE4044A-91ED-4C0D-84FC-AFAFFCE36CC7}" destId="{6D9D424A-D22D-4A76-852C-DEFDD3829FDE}" srcOrd="7" destOrd="0" presId="urn:microsoft.com/office/officeart/2005/8/layout/list1"/>
    <dgm:cxn modelId="{D04DD9C6-CF71-406F-9D44-5E4ED946CCC3}" type="presParOf" srcId="{7DE4044A-91ED-4C0D-84FC-AFAFFCE36CC7}" destId="{FF60C45A-813C-4053-A09D-7269275F80DB}" srcOrd="8" destOrd="0" presId="urn:microsoft.com/office/officeart/2005/8/layout/list1"/>
    <dgm:cxn modelId="{1F5D41D6-586F-4CFC-9D46-6F9559BD0964}" type="presParOf" srcId="{FF60C45A-813C-4053-A09D-7269275F80DB}" destId="{BAFEC78A-8DAD-47F6-AE20-1A6B32AC01A4}" srcOrd="0" destOrd="0" presId="urn:microsoft.com/office/officeart/2005/8/layout/list1"/>
    <dgm:cxn modelId="{299DB85B-A170-4236-8DA7-222EF7277397}" type="presParOf" srcId="{FF60C45A-813C-4053-A09D-7269275F80DB}" destId="{ECEB8BDC-F220-41C1-B502-A535EC67DE59}" srcOrd="1" destOrd="0" presId="urn:microsoft.com/office/officeart/2005/8/layout/list1"/>
    <dgm:cxn modelId="{60D4A476-6DEB-4799-9BA4-37A1E40B44AB}" type="presParOf" srcId="{7DE4044A-91ED-4C0D-84FC-AFAFFCE36CC7}" destId="{FE42D628-BBA6-4E36-AA67-F2E179A15711}" srcOrd="9" destOrd="0" presId="urn:microsoft.com/office/officeart/2005/8/layout/list1"/>
    <dgm:cxn modelId="{0716B8FC-BB6C-4CD5-AA60-3E687E178435}" type="presParOf" srcId="{7DE4044A-91ED-4C0D-84FC-AFAFFCE36CC7}" destId="{E42B4496-FBF8-4DC9-AF60-BFE77B14411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F18B468-CA9E-45F2-86C5-44A95F1A0C2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286DEDA7-7709-4B92-9707-9F5C3B969A6F}">
      <dgm:prSet phldrT="[Text]" phldr="0"/>
      <dgm:spPr/>
      <dgm:t>
        <a:bodyPr/>
        <a:lstStyle/>
        <a:p>
          <a:pPr rtl="0"/>
          <a:r>
            <a:rPr lang="en-US">
              <a:latin typeface="Aptos Display"/>
            </a:rPr>
            <a:t>Identify a team member responsible for providing parents the ESSI Respectful Care Practices on arrival</a:t>
          </a:r>
        </a:p>
      </dgm:t>
    </dgm:pt>
    <dgm:pt modelId="{3C2EB607-A685-40A3-9C85-3B20CDEE225B}" type="parTrans" cxnId="{ADC421CC-8213-4E7D-891C-A4F387DA8B56}">
      <dgm:prSet/>
      <dgm:spPr/>
      <dgm:t>
        <a:bodyPr/>
        <a:lstStyle/>
        <a:p>
          <a:endParaRPr lang="en-US"/>
        </a:p>
      </dgm:t>
    </dgm:pt>
    <dgm:pt modelId="{309F7402-0BC6-4014-9CB8-3968E0F8F96B}" type="sibTrans" cxnId="{ADC421CC-8213-4E7D-891C-A4F387DA8B56}">
      <dgm:prSet/>
      <dgm:spPr/>
      <dgm:t>
        <a:bodyPr/>
        <a:lstStyle/>
        <a:p>
          <a:endParaRPr lang="en-US"/>
        </a:p>
      </dgm:t>
    </dgm:pt>
    <dgm:pt modelId="{489EEBC6-502C-4BDD-817C-2E85107FD21D}">
      <dgm:prSet phldrT="[Text]" phldr="0"/>
      <dgm:spPr/>
      <dgm:t>
        <a:bodyPr/>
        <a:lstStyle/>
        <a:p>
          <a:pPr rtl="0"/>
          <a:r>
            <a:rPr lang="en-US">
              <a:latin typeface="Aptos Display"/>
            </a:rPr>
            <a:t> Review ESSI Respectful Care Practices with parent</a:t>
          </a:r>
        </a:p>
      </dgm:t>
    </dgm:pt>
    <dgm:pt modelId="{4467A1AF-97CF-42B5-9369-03F05284AC58}" type="parTrans" cxnId="{ABA9EB8B-558B-4AC3-8F18-7BAEA95231F1}">
      <dgm:prSet/>
      <dgm:spPr/>
      <dgm:t>
        <a:bodyPr/>
        <a:lstStyle/>
        <a:p>
          <a:endParaRPr lang="en-US"/>
        </a:p>
      </dgm:t>
    </dgm:pt>
    <dgm:pt modelId="{DBFEBEBF-57DB-4324-AB7D-5FB7529DD8AD}" type="sibTrans" cxnId="{ABA9EB8B-558B-4AC3-8F18-7BAEA95231F1}">
      <dgm:prSet/>
      <dgm:spPr/>
      <dgm:t>
        <a:bodyPr/>
        <a:lstStyle/>
        <a:p>
          <a:endParaRPr lang="en-US"/>
        </a:p>
      </dgm:t>
    </dgm:pt>
    <dgm:pt modelId="{08A855C5-9564-4521-B8DC-BA44E4944CDE}">
      <dgm:prSet phldrT="[Text]" phldr="0"/>
      <dgm:spPr/>
      <dgm:t>
        <a:bodyPr/>
        <a:lstStyle/>
        <a:p>
          <a:pPr rtl="0"/>
          <a:r>
            <a:rPr lang="en-US">
              <a:latin typeface="Aptos Display"/>
            </a:rPr>
            <a:t> Receive feedback from parent on respectful care experience</a:t>
          </a:r>
        </a:p>
      </dgm:t>
    </dgm:pt>
    <dgm:pt modelId="{464689AE-A954-4043-B8E0-A3B773E55532}" type="parTrans" cxnId="{501AB317-4580-4AB8-8F3E-4F6D0D4468A1}">
      <dgm:prSet/>
      <dgm:spPr/>
      <dgm:t>
        <a:bodyPr/>
        <a:lstStyle/>
        <a:p>
          <a:endParaRPr lang="en-US"/>
        </a:p>
      </dgm:t>
    </dgm:pt>
    <dgm:pt modelId="{EF8D52C4-4A18-4C91-92AE-13FC3DF99F52}" type="sibTrans" cxnId="{501AB317-4580-4AB8-8F3E-4F6D0D4468A1}">
      <dgm:prSet/>
      <dgm:spPr/>
      <dgm:t>
        <a:bodyPr/>
        <a:lstStyle/>
        <a:p>
          <a:endParaRPr lang="en-US"/>
        </a:p>
      </dgm:t>
    </dgm:pt>
    <dgm:pt modelId="{31B0ACC9-E91C-43B0-B298-44AE5F0105AB}" type="pres">
      <dgm:prSet presAssocID="{EF18B468-CA9E-45F2-86C5-44A95F1A0C24}" presName="Name0" presStyleCnt="0">
        <dgm:presLayoutVars>
          <dgm:dir/>
          <dgm:resizeHandles val="exact"/>
        </dgm:presLayoutVars>
      </dgm:prSet>
      <dgm:spPr/>
    </dgm:pt>
    <dgm:pt modelId="{7D38D7F5-62C0-4033-81B5-A37D283D227D}" type="pres">
      <dgm:prSet presAssocID="{286DEDA7-7709-4B92-9707-9F5C3B969A6F}" presName="parTxOnly" presStyleLbl="node1" presStyleIdx="0" presStyleCnt="3">
        <dgm:presLayoutVars>
          <dgm:bulletEnabled val="1"/>
        </dgm:presLayoutVars>
      </dgm:prSet>
      <dgm:spPr/>
    </dgm:pt>
    <dgm:pt modelId="{113257E2-BCDC-4542-964A-292D99115C86}" type="pres">
      <dgm:prSet presAssocID="{309F7402-0BC6-4014-9CB8-3968E0F8F96B}" presName="parSpace" presStyleCnt="0"/>
      <dgm:spPr/>
    </dgm:pt>
    <dgm:pt modelId="{412271C6-9BFE-4C12-903C-F5C8CC3ADBE8}" type="pres">
      <dgm:prSet presAssocID="{489EEBC6-502C-4BDD-817C-2E85107FD21D}" presName="parTxOnly" presStyleLbl="node1" presStyleIdx="1" presStyleCnt="3">
        <dgm:presLayoutVars>
          <dgm:bulletEnabled val="1"/>
        </dgm:presLayoutVars>
      </dgm:prSet>
      <dgm:spPr/>
    </dgm:pt>
    <dgm:pt modelId="{9B2B4A57-4790-4D0D-99CE-C2A9F8046F18}" type="pres">
      <dgm:prSet presAssocID="{DBFEBEBF-57DB-4324-AB7D-5FB7529DD8AD}" presName="parSpace" presStyleCnt="0"/>
      <dgm:spPr/>
    </dgm:pt>
    <dgm:pt modelId="{361D7620-385E-4C4A-9427-A163DAB47EF1}" type="pres">
      <dgm:prSet presAssocID="{08A855C5-9564-4521-B8DC-BA44E4944CDE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501AB317-4580-4AB8-8F3E-4F6D0D4468A1}" srcId="{EF18B468-CA9E-45F2-86C5-44A95F1A0C24}" destId="{08A855C5-9564-4521-B8DC-BA44E4944CDE}" srcOrd="2" destOrd="0" parTransId="{464689AE-A954-4043-B8E0-A3B773E55532}" sibTransId="{EF8D52C4-4A18-4C91-92AE-13FC3DF99F52}"/>
    <dgm:cxn modelId="{3ABC1F44-D9A4-4C01-821A-DB95031C164F}" type="presOf" srcId="{08A855C5-9564-4521-B8DC-BA44E4944CDE}" destId="{361D7620-385E-4C4A-9427-A163DAB47EF1}" srcOrd="0" destOrd="0" presId="urn:microsoft.com/office/officeart/2005/8/layout/hChevron3"/>
    <dgm:cxn modelId="{E86FE277-E579-4669-ABB9-77A88E18A0E6}" type="presOf" srcId="{EF18B468-CA9E-45F2-86C5-44A95F1A0C24}" destId="{31B0ACC9-E91C-43B0-B298-44AE5F0105AB}" srcOrd="0" destOrd="0" presId="urn:microsoft.com/office/officeart/2005/8/layout/hChevron3"/>
    <dgm:cxn modelId="{ABA9EB8B-558B-4AC3-8F18-7BAEA95231F1}" srcId="{EF18B468-CA9E-45F2-86C5-44A95F1A0C24}" destId="{489EEBC6-502C-4BDD-817C-2E85107FD21D}" srcOrd="1" destOrd="0" parTransId="{4467A1AF-97CF-42B5-9369-03F05284AC58}" sibTransId="{DBFEBEBF-57DB-4324-AB7D-5FB7529DD8AD}"/>
    <dgm:cxn modelId="{ADC421CC-8213-4E7D-891C-A4F387DA8B56}" srcId="{EF18B468-CA9E-45F2-86C5-44A95F1A0C24}" destId="{286DEDA7-7709-4B92-9707-9F5C3B969A6F}" srcOrd="0" destOrd="0" parTransId="{3C2EB607-A685-40A3-9C85-3B20CDEE225B}" sibTransId="{309F7402-0BC6-4014-9CB8-3968E0F8F96B}"/>
    <dgm:cxn modelId="{86DEB8E6-64B0-44E4-82A3-4CEC37B42098}" type="presOf" srcId="{286DEDA7-7709-4B92-9707-9F5C3B969A6F}" destId="{7D38D7F5-62C0-4033-81B5-A37D283D227D}" srcOrd="0" destOrd="0" presId="urn:microsoft.com/office/officeart/2005/8/layout/hChevron3"/>
    <dgm:cxn modelId="{7AAEDDFF-0BC4-4A0C-8F38-B31D83E7009B}" type="presOf" srcId="{489EEBC6-502C-4BDD-817C-2E85107FD21D}" destId="{412271C6-9BFE-4C12-903C-F5C8CC3ADBE8}" srcOrd="0" destOrd="0" presId="urn:microsoft.com/office/officeart/2005/8/layout/hChevron3"/>
    <dgm:cxn modelId="{9C29EC2D-AB35-4EE2-957C-13D01AC29569}" type="presParOf" srcId="{31B0ACC9-E91C-43B0-B298-44AE5F0105AB}" destId="{7D38D7F5-62C0-4033-81B5-A37D283D227D}" srcOrd="0" destOrd="0" presId="urn:microsoft.com/office/officeart/2005/8/layout/hChevron3"/>
    <dgm:cxn modelId="{4DB1A66D-6678-4A88-B5DC-F2AD4CBC5520}" type="presParOf" srcId="{31B0ACC9-E91C-43B0-B298-44AE5F0105AB}" destId="{113257E2-BCDC-4542-964A-292D99115C86}" srcOrd="1" destOrd="0" presId="urn:microsoft.com/office/officeart/2005/8/layout/hChevron3"/>
    <dgm:cxn modelId="{BB4AEB8D-C1B6-402D-AC0F-F982FA40669C}" type="presParOf" srcId="{31B0ACC9-E91C-43B0-B298-44AE5F0105AB}" destId="{412271C6-9BFE-4C12-903C-F5C8CC3ADBE8}" srcOrd="2" destOrd="0" presId="urn:microsoft.com/office/officeart/2005/8/layout/hChevron3"/>
    <dgm:cxn modelId="{E5423A28-5D98-4705-A53C-471B4F9B293D}" type="presParOf" srcId="{31B0ACC9-E91C-43B0-B298-44AE5F0105AB}" destId="{9B2B4A57-4790-4D0D-99CE-C2A9F8046F18}" srcOrd="3" destOrd="0" presId="urn:microsoft.com/office/officeart/2005/8/layout/hChevron3"/>
    <dgm:cxn modelId="{F8D168B5-A821-40EA-96F9-72AD8FDEE109}" type="presParOf" srcId="{31B0ACC9-E91C-43B0-B298-44AE5F0105AB}" destId="{361D7620-385E-4C4A-9427-A163DAB47EF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CDEB23-6A31-3D4C-8052-F26830C36882}">
      <dsp:nvSpPr>
        <dsp:cNvPr id="0" name=""/>
        <dsp:cNvSpPr/>
      </dsp:nvSpPr>
      <dsp:spPr>
        <a:xfrm>
          <a:off x="0" y="332803"/>
          <a:ext cx="2652446" cy="16843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844DDC-2122-B249-A2B6-1F99BCAE8EDF}">
      <dsp:nvSpPr>
        <dsp:cNvPr id="0" name=""/>
        <dsp:cNvSpPr/>
      </dsp:nvSpPr>
      <dsp:spPr>
        <a:xfrm>
          <a:off x="294716" y="612783"/>
          <a:ext cx="2652446" cy="16843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/>
            <a:t>Respectful Care Commitments </a:t>
          </a:r>
        </a:p>
      </dsp:txBody>
      <dsp:txXfrm>
        <a:off x="344048" y="662115"/>
        <a:ext cx="2553782" cy="1585639"/>
      </dsp:txXfrm>
    </dsp:sp>
    <dsp:sp modelId="{0B275EA0-DCC2-4141-8819-6637B27D44F4}">
      <dsp:nvSpPr>
        <dsp:cNvPr id="0" name=""/>
        <dsp:cNvSpPr/>
      </dsp:nvSpPr>
      <dsp:spPr>
        <a:xfrm>
          <a:off x="3241879" y="332803"/>
          <a:ext cx="2652446" cy="16843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59DDEC-EAB0-A44B-A267-C041999E7D24}">
      <dsp:nvSpPr>
        <dsp:cNvPr id="0" name=""/>
        <dsp:cNvSpPr/>
      </dsp:nvSpPr>
      <dsp:spPr>
        <a:xfrm>
          <a:off x="3536595" y="612783"/>
          <a:ext cx="2652446" cy="16843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Hearing Family Voices</a:t>
          </a:r>
        </a:p>
      </dsp:txBody>
      <dsp:txXfrm>
        <a:off x="3585927" y="662115"/>
        <a:ext cx="2553782" cy="1585639"/>
      </dsp:txXfrm>
    </dsp:sp>
    <dsp:sp modelId="{52D80279-547E-7A48-84C5-80DDD57C73FF}">
      <dsp:nvSpPr>
        <dsp:cNvPr id="0" name=""/>
        <dsp:cNvSpPr/>
      </dsp:nvSpPr>
      <dsp:spPr>
        <a:xfrm>
          <a:off x="6483758" y="332803"/>
          <a:ext cx="2652446" cy="16843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36CB0D-DB5E-6741-9FC9-D6CA9DFED182}">
      <dsp:nvSpPr>
        <dsp:cNvPr id="0" name=""/>
        <dsp:cNvSpPr/>
      </dsp:nvSpPr>
      <dsp:spPr>
        <a:xfrm>
          <a:off x="6778474" y="612783"/>
          <a:ext cx="2652446" cy="16843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Partnering with Parents  </a:t>
          </a:r>
        </a:p>
      </dsp:txBody>
      <dsp:txXfrm>
        <a:off x="6827806" y="662115"/>
        <a:ext cx="2553782" cy="15856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DD2E0E-F49E-4BE0-95A3-709CC9C0A47F}">
      <dsp:nvSpPr>
        <dsp:cNvPr id="0" name=""/>
        <dsp:cNvSpPr/>
      </dsp:nvSpPr>
      <dsp:spPr>
        <a:xfrm>
          <a:off x="0" y="393826"/>
          <a:ext cx="7101795" cy="1247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58216" rIns="551178" bIns="156464" numCol="1" spcCol="1270" anchor="t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>
              <a:latin typeface="Calibri" panose="020F0502020204030204"/>
            </a:rPr>
            <a:t>All data baseline-August 2024 will be </a:t>
          </a:r>
          <a:r>
            <a:rPr lang="en-US" sz="2200" b="1" kern="1200" dirty="0">
              <a:latin typeface="Calibri" panose="020F0502020204030204"/>
            </a:rPr>
            <a:t>due on September 27th, 2024,</a:t>
          </a:r>
          <a:r>
            <a:rPr lang="en-US" sz="2200" kern="1200" dirty="0">
              <a:latin typeface="Calibri" panose="020F0502020204030204"/>
            </a:rPr>
            <a:t> for award consideration.</a:t>
          </a:r>
          <a:endParaRPr lang="en-US" sz="2200" b="1" kern="1200" dirty="0"/>
        </a:p>
      </dsp:txBody>
      <dsp:txXfrm>
        <a:off x="0" y="393826"/>
        <a:ext cx="7101795" cy="1247400"/>
      </dsp:txXfrm>
    </dsp:sp>
    <dsp:sp modelId="{717BC3C2-DA22-4D51-A406-9086CACDDF9B}">
      <dsp:nvSpPr>
        <dsp:cNvPr id="0" name=""/>
        <dsp:cNvSpPr/>
      </dsp:nvSpPr>
      <dsp:spPr>
        <a:xfrm>
          <a:off x="355089" y="69106"/>
          <a:ext cx="4971256" cy="649440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latin typeface="Calibri" panose="020F0502020204030204"/>
            </a:rPr>
            <a:t> </a:t>
          </a:r>
          <a:r>
            <a:rPr lang="en-US" sz="2200" b="1" kern="1200" dirty="0">
              <a:solidFill>
                <a:schemeClr val="tx1"/>
              </a:solidFill>
              <a:latin typeface="Calibri" panose="020F0502020204030204"/>
            </a:rPr>
            <a:t>Submit your Data! </a:t>
          </a:r>
        </a:p>
      </dsp:txBody>
      <dsp:txXfrm>
        <a:off x="386792" y="100809"/>
        <a:ext cx="4907850" cy="586034"/>
      </dsp:txXfrm>
    </dsp:sp>
    <dsp:sp modelId="{6C17968B-3B40-4894-B40F-C49EEEEE87D3}">
      <dsp:nvSpPr>
        <dsp:cNvPr id="0" name=""/>
        <dsp:cNvSpPr/>
      </dsp:nvSpPr>
      <dsp:spPr>
        <a:xfrm>
          <a:off x="0" y="2084746"/>
          <a:ext cx="7101795" cy="155925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162435"/>
              <a:satOff val="5350"/>
              <a:lumOff val="-90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58216" rIns="551178" bIns="156464" numCol="1" spcCol="1270" anchor="t" anchorCtr="0">
          <a:noAutofit/>
        </a:bodyPr>
        <a:lstStyle/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>
              <a:latin typeface="Calibri" panose="020F0502020204030204"/>
            </a:rPr>
            <a:t> </a:t>
          </a:r>
          <a:r>
            <a:rPr lang="en-US" sz="2200" b="1" kern="1200" dirty="0">
              <a:latin typeface="Calibri" panose="020F0502020204030204"/>
            </a:rPr>
            <a:t>Info coming soon!</a:t>
          </a:r>
          <a:r>
            <a:rPr lang="en-US" sz="2200" kern="1200" dirty="0">
              <a:latin typeface="Calibri" panose="020F0502020204030204"/>
            </a:rPr>
            <a:t> All hospital teams are asked to submit an abstract on their QI work (can be in progress).</a:t>
          </a:r>
          <a:endParaRPr lang="en-US" sz="2200" kern="1200" dirty="0"/>
        </a:p>
      </dsp:txBody>
      <dsp:txXfrm>
        <a:off x="0" y="2084746"/>
        <a:ext cx="7101795" cy="1559250"/>
      </dsp:txXfrm>
    </dsp:sp>
    <dsp:sp modelId="{C8372599-BDA9-4E62-9184-ABA50695DEAE}">
      <dsp:nvSpPr>
        <dsp:cNvPr id="0" name=""/>
        <dsp:cNvSpPr/>
      </dsp:nvSpPr>
      <dsp:spPr>
        <a:xfrm>
          <a:off x="355089" y="1760026"/>
          <a:ext cx="4971256" cy="649440"/>
        </a:xfrm>
        <a:prstGeom prst="roundRect">
          <a:avLst/>
        </a:prstGeom>
        <a:solidFill>
          <a:schemeClr val="accent3">
            <a:hueOff val="1162435"/>
            <a:satOff val="5350"/>
            <a:lumOff val="-90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tx1"/>
              </a:solidFill>
              <a:latin typeface="Calibri" panose="020F0502020204030204"/>
            </a:rPr>
            <a:t>Call for QI Abstracts! </a:t>
          </a:r>
          <a:endParaRPr lang="en-US" sz="2200" b="1" kern="1200" dirty="0">
            <a:solidFill>
              <a:schemeClr val="tx1"/>
            </a:solidFill>
          </a:endParaRPr>
        </a:p>
      </dsp:txBody>
      <dsp:txXfrm>
        <a:off x="386792" y="1791729"/>
        <a:ext cx="4907850" cy="586034"/>
      </dsp:txXfrm>
    </dsp:sp>
    <dsp:sp modelId="{E42B4496-FBF8-4DC9-AF60-BFE77B144112}">
      <dsp:nvSpPr>
        <dsp:cNvPr id="0" name=""/>
        <dsp:cNvSpPr/>
      </dsp:nvSpPr>
      <dsp:spPr>
        <a:xfrm>
          <a:off x="0" y="4087516"/>
          <a:ext cx="7101795" cy="190574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324871"/>
              <a:satOff val="10701"/>
              <a:lumOff val="-180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58216" rIns="551178" bIns="156464" numCol="1" spcCol="1270" anchor="t" anchorCtr="0">
          <a:noAutofit/>
        </a:bodyPr>
        <a:lstStyle/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>
              <a:latin typeface="Calibri" panose="020F0502020204030204"/>
            </a:rPr>
            <a:t>We want to hear from you! </a:t>
          </a:r>
          <a:r>
            <a:rPr lang="en-US" sz="2200" b="1" kern="1200" dirty="0">
              <a:latin typeface="Calibri" panose="020F0502020204030204"/>
            </a:rPr>
            <a:t>Survey opening soon! </a:t>
          </a:r>
          <a:endParaRPr lang="en-US" sz="2200" b="1" kern="1200" dirty="0"/>
        </a:p>
        <a:p>
          <a:pPr marL="228600" lvl="1" indent="-228600" algn="l" defTabSz="9779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200" kern="1200" dirty="0">
              <a:latin typeface="Calibri" panose="020F0502020204030204"/>
            </a:rPr>
            <a:t>This is a great opportunity to share your teams' thoughts &amp; insights reflecting on 2024 and planning for 2025!</a:t>
          </a:r>
        </a:p>
      </dsp:txBody>
      <dsp:txXfrm>
        <a:off x="0" y="4087516"/>
        <a:ext cx="7101795" cy="1905749"/>
      </dsp:txXfrm>
    </dsp:sp>
    <dsp:sp modelId="{ECEB8BDC-F220-41C1-B502-A535EC67DE59}">
      <dsp:nvSpPr>
        <dsp:cNvPr id="0" name=""/>
        <dsp:cNvSpPr/>
      </dsp:nvSpPr>
      <dsp:spPr>
        <a:xfrm>
          <a:off x="355089" y="3762796"/>
          <a:ext cx="4971256" cy="649440"/>
        </a:xfrm>
        <a:prstGeom prst="roundRect">
          <a:avLst/>
        </a:prstGeom>
        <a:solidFill>
          <a:schemeClr val="accent3">
            <a:hueOff val="2324871"/>
            <a:satOff val="10701"/>
            <a:lumOff val="-180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u="none" kern="1200" dirty="0">
              <a:solidFill>
                <a:schemeClr val="tx1"/>
              </a:solidFill>
              <a:latin typeface="Calibri" panose="020F0502020204030204"/>
            </a:rPr>
            <a:t>ILPQC Annual Conference </a:t>
          </a:r>
          <a:r>
            <a:rPr lang="en-US" sz="2200" b="1" kern="1200" dirty="0">
              <a:solidFill>
                <a:schemeClr val="tx1"/>
              </a:solidFill>
              <a:latin typeface="Calibri" panose="020F0502020204030204"/>
            </a:rPr>
            <a:t>Survey! </a:t>
          </a:r>
        </a:p>
      </dsp:txBody>
      <dsp:txXfrm>
        <a:off x="386792" y="3794499"/>
        <a:ext cx="4907850" cy="5860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38D7F5-62C0-4033-81B5-A37D283D227D}">
      <dsp:nvSpPr>
        <dsp:cNvPr id="0" name=""/>
        <dsp:cNvSpPr/>
      </dsp:nvSpPr>
      <dsp:spPr>
        <a:xfrm>
          <a:off x="4613" y="2025705"/>
          <a:ext cx="4034215" cy="1613686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56007" rIns="28004" bIns="56007" numCol="1" spcCol="1270" anchor="ctr" anchorCtr="0">
          <a:noAutofit/>
        </a:bodyPr>
        <a:lstStyle/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latin typeface="Aptos Display"/>
            </a:rPr>
            <a:t>Identify a team member responsible for providing parents the ESSI Respectful Care Practices on arrival</a:t>
          </a:r>
        </a:p>
      </dsp:txBody>
      <dsp:txXfrm>
        <a:off x="4613" y="2025705"/>
        <a:ext cx="3630794" cy="1613686"/>
      </dsp:txXfrm>
    </dsp:sp>
    <dsp:sp modelId="{412271C6-9BFE-4C12-903C-F5C8CC3ADBE8}">
      <dsp:nvSpPr>
        <dsp:cNvPr id="0" name=""/>
        <dsp:cNvSpPr/>
      </dsp:nvSpPr>
      <dsp:spPr>
        <a:xfrm>
          <a:off x="3231985" y="2025705"/>
          <a:ext cx="4034215" cy="161368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56007" rIns="28004" bIns="56007" numCol="1" spcCol="1270" anchor="ctr" anchorCtr="0">
          <a:noAutofit/>
        </a:bodyPr>
        <a:lstStyle/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latin typeface="Aptos Display"/>
            </a:rPr>
            <a:t> Review ESSI Respectful Care Practices with parent</a:t>
          </a:r>
        </a:p>
      </dsp:txBody>
      <dsp:txXfrm>
        <a:off x="4038828" y="2025705"/>
        <a:ext cx="2420529" cy="1613686"/>
      </dsp:txXfrm>
    </dsp:sp>
    <dsp:sp modelId="{361D7620-385E-4C4A-9427-A163DAB47EF1}">
      <dsp:nvSpPr>
        <dsp:cNvPr id="0" name=""/>
        <dsp:cNvSpPr/>
      </dsp:nvSpPr>
      <dsp:spPr>
        <a:xfrm>
          <a:off x="6459357" y="2025705"/>
          <a:ext cx="4034215" cy="161368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4011" tIns="56007" rIns="28004" bIns="56007" numCol="1" spcCol="1270" anchor="ctr" anchorCtr="0">
          <a:noAutofit/>
        </a:bodyPr>
        <a:lstStyle/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>
              <a:latin typeface="Aptos Display"/>
            </a:rPr>
            <a:t> Receive feedback from parent on respectful care experience</a:t>
          </a:r>
        </a:p>
      </dsp:txBody>
      <dsp:txXfrm>
        <a:off x="7266200" y="2025705"/>
        <a:ext cx="2420529" cy="16136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36F507-7DE3-47AF-869D-B5330FAFC619}" type="datetimeFigureOut">
              <a:t>8/19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720E13-4014-47BB-92E4-D32DC289857F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841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38222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720E13-4014-47BB-92E4-D32DC289857F}" type="slidenum">
              <a:rPr lang="en-US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0641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720E13-4014-47BB-92E4-D32DC289857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6859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720E13-4014-47BB-92E4-D32DC289857F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99612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720E13-4014-47BB-92E4-D32DC289857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8542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720E13-4014-47BB-92E4-D32DC289857F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186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36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2284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>
              <a:cs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0020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Google Shape;435;g956160e29b_0_8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36" name="Google Shape;436;g956160e29b_0_8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4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343817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4</a:t>
            </a:fld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5" name="Google Shape;365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66" name="Google Shape;366;p1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66521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697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9107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3418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716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3.emf"/><Relationship Id="rId4" Type="http://schemas.openxmlformats.org/officeDocument/2006/relationships/oleObject" Target="../embeddings/oleObject2.bin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3.emf"/><Relationship Id="rId4" Type="http://schemas.openxmlformats.org/officeDocument/2006/relationships/oleObject" Target="../embeddings/oleObject4.bin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3.emf"/><Relationship Id="rId4" Type="http://schemas.openxmlformats.org/officeDocument/2006/relationships/oleObject" Target="../embeddings/oleObject8.bin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8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43.emf"/><Relationship Id="rId4" Type="http://schemas.openxmlformats.org/officeDocument/2006/relationships/oleObject" Target="../embeddings/oleObject11.bin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2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2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2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2.xml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2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2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2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3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3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3.xml"/></Relationships>
</file>

<file path=ppt/slideLayouts/_rels/slideLayout7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3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7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7537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818642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478154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290199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6585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1101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0083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2136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5955519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152295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66880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86211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794969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7472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327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43467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05659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9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0080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9379294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9257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71672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503774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600236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985548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82600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549953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141060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561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3841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7126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43226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6120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7398495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06630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8/19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8/19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9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9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612349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1684694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8/19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8/19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489293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40569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177511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909929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3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3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3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oogle Shape;24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" name="Google Shape;25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" name="Google Shape;26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" name="Google Shape;27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" name="Google Shape;28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" name="Google Shape;29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" name="Google Shape;32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" name="Google Shape;33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0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48" name="Google Shape;48;p10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49" name="Google Shape;49;p10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0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1" name="Google Shape;51;p10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oogle Shape;53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" name="Google Shape;54;p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" name="Google Shape;55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" name="Google Shape;56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" name="Google Shape;57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" name="Google Shape;58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4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" name="Google Shape;61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" name="Google Shape;62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6" name="Google Shape;66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" name="Google Shape;67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" name="Google Shape;68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" name="Google Shape;69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" name="Google Shape;71;p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" name="Google Shape;72;p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" name="Google Shape;73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" name="Google Shape;74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" name="Google Shape;85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" name="Google Shape;86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" name="Google Shape;87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" name="Google Shape;88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" name="Google Shape;89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" name="Google Shape;90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oogle Shape;93;p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" name="Google Shape;94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" name="Google Shape;95;p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" name="Google Shape;96;p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" name="Google Shape;98;p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" name="Google Shape;101;p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" name="Google Shape;102;p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" name="Google Shape;105;p4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4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" name="Google Shape;107;p4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8" name="Google Shape;108;p4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" name="Google Shape;109;p4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10;p4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" name="Google Shape;111;p4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" name="Google Shape;117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" name="Google Shape;118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" name="Google Shape;119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" name="Google Shape;120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" name="Google Shape;121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2" name="Google Shape;122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" name="Google Shape;124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" name="Google Shape;127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" name="Google Shape;130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" name="Google Shape;131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" name="Google Shape;132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" name="Google Shape;133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" name="Google Shape;134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" name="Google Shape;135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" name="Google Shape;137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1" name="Google Shape;141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" name="Google Shape;142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" name="Google Shape;143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" name="Google Shape;144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" name="Google Shape;146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" name="Google Shape;148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" name="Google Shape;151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" name="Google Shape;152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" name="Google Shape;153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" name="Google Shape;154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" name="Google Shape;156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8" name="Google Shape;158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0" name="Google Shape;160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" name="Google Shape;162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3" name="Google Shape;163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6" name="Google Shape;166;p5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7" name="Google Shape;167;p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8" name="Google Shape;168;p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169;p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" name="Google Shape;170;p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1" name="Google Shape;171;p5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4" name="Google Shape;174;p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7" name="Google Shape;177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8" name="Google Shape;178;p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2" name="Google Shape;182;p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3" name="Google Shape;183;p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" name="Google Shape;184;p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6" name="Google Shape;186;p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" name="Google Shape;187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" name="Google Shape;193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" name="Google Shape;194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5" name="Google Shape;195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" name="Google Shape;196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7" name="Google Shape;197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" name="Google Shape;198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199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" name="Google Shape;200;p5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p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" name="Google Shape;205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6" name="Google Shape;206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7" name="Google Shape;207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8" name="Google Shape;208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9" name="Google Shape;209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0" name="Google Shape;210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" name="Google Shape;211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3" name="Google Shape;213;p5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" name="Google Shape;215;p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" name="Google Shape;216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7" name="Google Shape;217;p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8" name="Google Shape;218;p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0" name="Google Shape;220;p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p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" name="Google Shape;222;p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3" name="Google Shape;223;p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" name="Google Shape;224;p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oogle Shape;226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7" name="Google Shape;227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8" name="Google Shape;228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" name="Google Shape;229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1" name="Google Shape;231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3" name="Google Shape;233;p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p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5" name="Google Shape;235;p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7" name="Google Shape;237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8" name="Google Shape;238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oogle Shape;240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1" name="Google Shape;241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2" name="Google Shape;242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3" name="Google Shape;243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5" name="Google Shape;245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" name="Google Shape;250;p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1" name="Google Shape;251;p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52;p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3" name="Google Shape;253;p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6" name="Google Shape;256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Google Shape;257;p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" name="Google Shape;260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1" name="Google Shape;261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" name="Google Shape;262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" name="Google Shape;263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" name="Google Shape;264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" name="Google Shape;265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266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1" name="Google Shape;271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2" name="Google Shape;272;p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3" name="Google Shape;273;p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5" name="Google Shape;275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" name="Google Shape;277;p6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8" name="Google Shape;278;p6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1" name="Google Shape;281;p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2" name="Google Shape;282;p6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6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" name="Google Shape;288;p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9" name="Google Shape;289;p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" name="Google Shape;290;p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1" name="Google Shape;291;p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2" name="Google Shape;292;p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3" name="Google Shape;293;p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4" name="Google Shape;294;p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295;p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6" name="Google Shape;296;p6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8" name="Google Shape;298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9" name="Google Shape;299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0" name="Google Shape;300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1" name="Google Shape;301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302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3" name="Google Shape;303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" name="Google Shape;305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" name="Google Shape;306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" name="Google Shape;307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1" name="Google Shape;311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2" name="Google Shape;312;p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3" name="Google Shape;313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4" name="Google Shape;314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6" name="Google Shape;316;p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7" name="Google Shape;317;p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8" name="Google Shape;318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" name="Google Shape;319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1" name="Google Shape;321;p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2" name="Google Shape;322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3" name="Google Shape;323;p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4" name="Google Shape;324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6" name="Google Shape;326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8" name="Google Shape;328;p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9" name="Google Shape;329;p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0" name="Google Shape;330;p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6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6" name="Google Shape;336;p6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7" name="Google Shape;337;p6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38" name="Google Shape;338;p6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6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0" name="Google Shape;340;p6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41" name="Google Shape;341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3" name="Google Shape;343;p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44" name="Google Shape;344;p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345;p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6" name="Google Shape;346;p6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Google Shape;347;p6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8" name="Google Shape;348;p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9" name="Google Shape;349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0" name="Google Shape;350;p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" name="Google Shape;353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4" name="Google Shape;354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5" name="Google Shape;355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" name="Google Shape;356;p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7" name="Google Shape;357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" name="Google Shape;358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9" name="Google Shape;359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1" name="Google Shape;361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2" name="Google Shape;362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3" name="Google Shape;363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4" name="Google Shape;364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" name="Google Shape;365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6" name="Google Shape;366;p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" name="Google Shape;367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" name="Google Shape;368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" name="Google Shape;369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" name="Google Shape;372;p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p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4" name="Google Shape;374;p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75" name="Google Shape;375;p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76" name="Google Shape;376;p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377;p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78" name="Google Shape;378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0" name="Google Shape;380;p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81" name="Google Shape;381;p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382;p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383;p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84" name="Google Shape;384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85" name="Google Shape;385;p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" name="Google Shape;389;p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" name="Google Shape;390;p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" name="Google Shape;391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2" name="Google Shape;392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3" name="Google Shape;393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4" name="Google Shape;394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5" name="Google Shape;395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" name="Google Shape;396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" name="Google Shape;397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8" name="Google Shape;398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9" name="Google Shape;399;p7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2" name="Google Shape;402;p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" name="Google Shape;40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4" name="Google Shape;40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5" name="Google Shape;40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6" name="Google Shape;40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" name="Google Shape;407;p7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" name="Google Shape;408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" name="Google Shape;409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0" name="Google Shape;410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3" name="Google Shape;413;p7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14" name="Google Shape;414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5" name="Google Shape;415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6" name="Google Shape;416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7" name="Google Shape;417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8" name="Google Shape;418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9" name="Google Shape;419;p7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" name="Google Shape;420;p7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1" name="Google Shape;421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2" name="Google Shape;422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4" name="Google Shape;424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5" name="Google Shape;425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6" name="Google Shape;426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7" name="Google Shape;427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" name="Google Shape;428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" name="Google Shape;429;p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7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1" name="Google Shape;431;p7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2" name="Google Shape;432;p7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3" name="Google Shape;433;p7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4" name="Google Shape;434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" name="Google Shape;435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6" name="Google Shape;436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9" name="Google Shape;439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0" name="Google Shape;440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1" name="Google Shape;441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" name="Google Shape;442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3" name="Google Shape;443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4" name="Google Shape;444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Google Shape;446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7" name="Google Shape;447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9" name="Google Shape;449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" name="Google Shape;450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" name="Google Shape;451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52" name="Google Shape;452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3" name="Google Shape;453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4" name="Google Shape;454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5" name="Google Shape;455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7" name="Google Shape;457;p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" name="Google Shape;459;p8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0" name="Google Shape;460;p8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" name="Google Shape;461;p8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2" name="Google Shape;462;p8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" name="Google Shape;463;p8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" name="Google Shape;464;p8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5" name="Google Shape;465;p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6" name="Google Shape;466;p8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9" name="Google Shape;469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" name="Google Shape;470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71" name="Google Shape;471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2" name="Google Shape;472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" name="Google Shape;473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4" name="Google Shape;474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5" name="Google Shape;475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7" name="Google Shape;477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8" name="Google Shape;478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9" name="Google Shape;479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0" name="Google Shape;480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" name="Google Shape;481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2" name="Google Shape;482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4" name="Google Shape;484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" name="Google Shape;485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p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8" name="Google Shape;488;p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p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90" name="Google Shape;490;p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91" name="Google Shape;491;p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92" name="Google Shape;492;p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4" name="Google Shape;494;p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" name="Google Shape;496;p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97" name="Google Shape;497;p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0" name="Google Shape;500;p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1" name="Google Shape;501;p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" name="Google Shape;502;p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5" name="Google Shape;505;p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6" name="Google Shape;506;p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07" name="Google Shape;507;p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8" name="Google Shape;508;p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9" name="Google Shape;509;p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10" name="Google Shape;510;p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" name="Google Shape;513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8" name="Google Shape;518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" name="Google Shape;519;p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0" name="Google Shape;520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1" name="Google Shape;521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2" name="Google Shape;522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3" name="Google Shape;523;p8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6" name="Google Shape;526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8" name="Google Shape;52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9" name="Google Shape;52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" name="Google Shape;53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1" name="Google Shape;531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2" name="Google Shape;532;p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" name="Google Shape;533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4" name="Google Shape;534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" name="Google Shape;535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6" name="Google Shape;536;p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0" name="Google Shape;540;p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1" name="Google Shape;541;p8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2" name="Google Shape;542;p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3" name="Google Shape;543;p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" name="Google Shape;544;p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5" name="Google Shape;545;p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7" name="Google Shape;547;p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8" name="Google Shape;548;p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0" name="Google Shape;550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1" name="Google Shape;551;p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" name="Google Shape;552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3" name="Google Shape;553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5" name="Google Shape;555;p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p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7" name="Google Shape;557;p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8" name="Google Shape;558;p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9" name="Google Shape;559;p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" name="Google Shape;560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1" name="Google Shape;561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" name="Google Shape;562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4" name="Google Shape;564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5" name="Google Shape;565;p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6" name="Google Shape;566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7" name="Google Shape;567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9" name="Google Shape;569;p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" name="Google Shape;570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1" name="Google Shape;571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2" name="Google Shape;572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4" name="Google Shape;574;p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5" name="Google Shape;575;p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" name="Google Shape;577;p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p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" name="Google Shape;579;p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80" name="Google Shape;580;p9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p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Google Shape;583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86" name="Google Shape;586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7" name="Google Shape;587;p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" name="Google Shape;588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9" name="Google Shape;589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0" name="Google Shape;590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Google Shape;592;p9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3" name="Google Shape;593;p9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" name="Google Shape;594;p9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5" name="Google Shape;595;p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6" name="Google Shape;596;p9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7" name="Google Shape;597;p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" name="Google Shape;598;p9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9" name="Google Shape;599;p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2" name="Google Shape;602;p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" name="Google Shape;604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" name="Google Shape;605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6" name="Google Shape;606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7" name="Google Shape;607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8" name="Google Shape;608;p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9" name="Google Shape;609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0" name="Google Shape;610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1" name="Google Shape;611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2" name="Google Shape;612;p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" name="Google Shape;614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15" name="Google Shape;615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6" name="Google Shape;616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7" name="Google Shape;617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8" name="Google Shape;618;p9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19" name="Google Shape;619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0" name="Google Shape;620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3" name="Google Shape;623;p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" name="Google Shape;624;p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5" name="Google Shape;625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" name="Google Shape;626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7" name="Google Shape;627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8" name="Google Shape;628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9" name="Google Shape;629;p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" name="Google Shape;630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" name="Google Shape;631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2" name="Google Shape;632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3" name="Google Shape;633;p9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5" name="Google Shape;635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6" name="Google Shape;636;p9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" name="Google Shape;637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8" name="Google Shape;638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" name="Google Shape;639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" name="Google Shape;640;p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p9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2" name="Google Shape;642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3" name="Google Shape;643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4" name="Google Shape;644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48" name="Google Shape;648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9" name="Google Shape;649;p9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0" name="Google Shape;650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1" name="Google Shape;651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2" name="Google Shape;652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3" name="Google Shape;653;p9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" name="Google Shape;654;p9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" name="Google Shape;655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6" name="Google Shape;656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8" name="Google Shape;658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9" name="Google Shape;659;p9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" name="Google Shape;660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1" name="Google Shape;661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2" name="Google Shape;662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63" name="Google Shape;663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" name="Google Shape;664;p9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5" name="Google Shape;665;p9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" name="Google Shape;666;p9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7" name="Google Shape;667;p9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" name="Google Shape;668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9" name="Google Shape;669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0" name="Google Shape;670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3" name="Google Shape;673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4" name="Google Shape;674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5" name="Google Shape;675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676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7" name="Google Shape;677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78" name="Google Shape;678;p1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0" name="Google Shape;680;p10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81" name="Google Shape;681;p10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682;p10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3" name="Google Shape;683;p10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4" name="Google Shape;684;p10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5" name="Google Shape;685;p10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86" name="Google Shape;686;p10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87" name="Google Shape;687;p1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Google Shape;689;p1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" name="Google Shape;690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" name="Google Shape;691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92" name="Google Shape;6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3" name="Google Shape;693;p10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" name="Google Shape;6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5" name="Google Shape;6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6" name="Google Shape;6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8" name="Google Shape;698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9" name="Google Shape;699;p10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0" name="Google Shape;700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1" name="Google Shape;701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2" name="Google Shape;702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3" name="Google Shape;703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" name="Google Shape;704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5" name="Google Shape;705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6" name="Google Shape;706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" name="Google Shape;708;p1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9" name="Google Shape;709;p1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710;p1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1" name="Google Shape;711;p10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2" name="Google Shape;712;p10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" name="Google Shape;713;p1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14" name="Google Shape;714;p10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15" name="Google Shape;715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" name="Google Shape;717;p1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0" name="Google Shape;720;p1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1" name="Google Shape;721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2" name="Google Shape;722;p1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3" name="Google Shape;723;p1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" name="Google Shape;724;p1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" name="Google Shape;726;p10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7" name="Google Shape;727;p10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8" name="Google Shape;728;p10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9" name="Google Shape;729;p1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0" name="Google Shape;730;p10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31" name="Google Shape;731;p1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732;p10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3" name="Google Shape;733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5" name="Google Shape;735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6" name="Google Shape;736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7" name="Google Shape;737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8" name="Google Shape;738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9" name="Google Shape;739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0" name="Google Shape;740;p1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" name="Google Shape;742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" name="Google Shape;743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5" name="Google Shape;745;p10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6" name="Google Shape;746;p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7" name="Google Shape;747;p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8" name="Google Shape;748;p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9" name="Google Shape;749;p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0" name="Google Shape;750;p10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" name="Google Shape;751;p10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Google Shape;753;p1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54" name="Google Shape;754;p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55" name="Google Shape;755;p1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56" name="Google Shape;756;p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757;p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8" name="Google Shape;758;p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59" name="Google Shape;759;p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" name="Google Shape;761;p11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" name="Google Shape;762;p11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" name="Google Shape;763;p11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64" name="Google Shape;764;p1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65" name="Google Shape;765;p11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66" name="Google Shape;766;p11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7" name="Google Shape;767;p11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68" name="Google Shape;768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0" name="Google Shape;770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1" name="Google Shape;771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2" name="Google Shape;772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3" name="Google Shape;773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774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5" name="Google Shape;775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" name="Google Shape;776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" name="Google Shape;781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" name="Google Shape;782;p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3" name="Google Shape;7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4" name="Google Shape;784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5" name="Google Shape;7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6" name="Google Shape;7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7" name="Google Shape;7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8" name="Google Shape;788;p1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9" name="Google Shape;789;p1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0" name="Google Shape;790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1" name="Google Shape;791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3" name="Google Shape;793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4" name="Google Shape;794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5" name="Google Shape;795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6" name="Google Shape;796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7" name="Google Shape;797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8" name="Google Shape;798;p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9" name="Google Shape;799;p1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0" name="Google Shape;800;p1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1" name="Google Shape;801;p1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2" name="Google Shape;802;p1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3" name="Google Shape;803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4" name="Google Shape;804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" name="Google Shape;805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" name="Google Shape;807;p1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8" name="Google Shape;808;p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9" name="Google Shape;809;p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0" name="Google Shape;810;p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1" name="Google Shape;811;p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2" name="Google Shape;812;p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3" name="Google Shape;813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" name="Google Shape;814;p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" name="Google Shape;81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8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Google Shape;817;p1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9" name="Google Shape;819;p1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0" name="Google Shape;820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1" name="Google Shape;821;p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" name="Google Shape;822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3" name="Google Shape;823;p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4" name="Google Shape;824;p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5" name="Google Shape;825;p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6" name="Google Shape;826;p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" name="Google Shape;827;p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8" name="Google Shape;828;p11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0" name="Google Shape;830;p1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1" name="Google Shape;831;p1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2" name="Google Shape;832;p1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3" name="Google Shape;833;p1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" name="Google Shape;834;p1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5" name="Google Shape;835;p1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6" name="Google Shape;83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7" name="Google Shape;837;p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" name="Google Shape;839;p11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" name="Google Shape;840;p11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" name="Google Shape;841;p11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2" name="Google Shape;842;p11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3" name="Google Shape;843;p11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4" name="Google Shape;844;p1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5" name="Google Shape;845;p11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6" name="Google Shape;846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Google Shape;848;p1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" name="Google Shape;849;p1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0" name="Google Shape;850;p1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" name="Google Shape;851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2" name="Google Shape;852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3" name="Google Shape;853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54" name="Google Shape;854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5" name="Google Shape;855;p1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6" name="Google Shape;856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7" name="Google Shape;857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8" name="Google Shape;858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9" name="Google Shape;859;p1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1" name="Google Shape;861;p12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2" name="Google Shape;862;p12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3" name="Google Shape;863;p1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4" name="Google Shape;864;p12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" name="Google Shape;865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6" name="Google Shape;866;p12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" name="Google Shape;867;p12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12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0" name="Google Shape;870;p12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1" name="Google Shape;871;p12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2" name="Google Shape;872;p12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3" name="Google Shape;873;p12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4" name="Google Shape;874;p12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75" name="Google Shape;875;p1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1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8" name="Google Shape;878;p1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9" name="Google Shape;879;p1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0" name="Google Shape;880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1" name="Google Shape;881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" name="Google Shape;882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3" name="Google Shape;883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4" name="Google Shape;884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5" name="Google Shape;885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6" name="Google Shape;886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7" name="Google Shape;887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8" name="Google Shape;888;p12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1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1" name="Google Shape;891;p1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" name="Google Shape;892;p1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" name="Google Shape;893;p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1" name="Google Shape;901;p1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" name="Google Shape;903;p12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" name="Google Shape;904;p12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5" name="Google Shape;905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06" name="Google Shape;906;p12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7" name="Google Shape;907;p1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08" name="Google Shape;908;p12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9" name="Google Shape;909;p12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" name="Google Shape;910;p12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" name="Google Shape;911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" name="Google Shape;912;p1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13" name="Google Shape;913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" name="Google Shape;916;p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" name="Google Shape;917;p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8" name="Google Shape;918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" name="Google Shape;919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" name="Google Shape;920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1" name="Google Shape;92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" name="Google Shape;922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" name="Google Shape;92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4" name="Google Shape;92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5" name="Google Shape;92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6" name="Google Shape;926;p12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9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" name="Google Shape;928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" name="Google Shape;929;p1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0" name="Google Shape;930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1" name="Google Shape;931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2" name="Google Shape;932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3" name="Google Shape;933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4" name="Google Shape;934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5" name="Google Shape;935;p1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6" name="Google Shape;936;p1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" name="Google Shape;937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" name="Google Shape;938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0" name="Google Shape;940;p1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" name="Google Shape;941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" name="Google Shape;942;p1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3" name="Google Shape;943;p1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" name="Google Shape;944;p1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5" name="Google Shape;945;p1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" name="Google Shape;946;p1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7" name="Google Shape;947;p1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1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9" name="Google Shape;949;p1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" name="Google Shape;950;p1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1" name="Google Shape;951;p1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" name="Google Shape;952;p1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4" name="Google Shape;954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" name="Google Shape;955;p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6" name="Google Shape;956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7" name="Google Shape;957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8" name="Google Shape;958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9" name="Google Shape;959;p1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1" name="Google Shape;961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" name="Google Shape;962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" name="Google Shape;964;p12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" name="Google Shape;965;p12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6" name="Google Shape;966;p12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7" name="Google Shape;967;p12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8" name="Google Shape;968;p12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" name="Google Shape;969;p12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0" name="Google Shape;970;p1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1" name="Google Shape;971;p1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1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4" name="Google Shape;974;p1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" name="Google Shape;975;p1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6" name="Google Shape;976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" name="Google Shape;977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8" name="Google Shape;97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9" name="Google Shape;979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0" name="Google Shape;980;p1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" name="Google Shape;981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" name="Google Shape;982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3" name="Google Shape;983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4" name="Google Shape;984;p13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Google Shape;986;p1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7" name="Google Shape;987;p1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" name="Google Shape;988;p1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9" name="Google Shape;989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" name="Google Shape;990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1" name="Google Shape;991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2" name="Google Shape;9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" name="Google Shape;993;p1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" name="Google Shape;9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" name="Google Shape;9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6" name="Google Shape;9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7" name="Google Shape;997;p1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p1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" name="Google Shape;1000;p1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" name="Google Shape;1001;p1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2" name="Google Shape;1002;p1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3" name="Google Shape;1003;p1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4" name="Google Shape;1004;p1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5" name="Google Shape;1005;p1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6" name="Google Shape;1006;p1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8" name="Google Shape;1008;p1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9" name="Google Shape;1009;p1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0" name="Google Shape;1010;p1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1" name="Google Shape;1011;p1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2" name="Google Shape;1012;p1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3" name="Google Shape;1013;p1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4" name="Google Shape;1014;p1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" name="Google Shape;1016;p1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7" name="Google Shape;1017;p1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8" name="Google Shape;1018;p1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9" name="Google Shape;1019;p1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0" name="Google Shape;1020;p1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1" name="Google Shape;1021;p1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2" name="Google Shape;1022;p1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Google Shape;1024;p13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5" name="Google Shape;1025;p1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" name="Google Shape;1026;p1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" name="Google Shape;1027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" name="Google Shape;1028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9" name="Google Shape;1029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" name="Google Shape;1030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1" name="Google Shape;1031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" name="Google Shape;1032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" name="Google Shape;1033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" name="Google Shape;1034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5" name="Google Shape;1035;p13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7" name="Google Shape;1037;p1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" name="Google Shape;1038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" name="Google Shape;1039;p1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" name="Google Shape;1040;p1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1" name="Google Shape;1041;p1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2" name="Google Shape;1042;p1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" name="Google Shape;1044;p1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5" name="Google Shape;1045;p1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" name="Google Shape;1046;p1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" name="Google Shape;1048;p1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" name="Google Shape;1049;p1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50" name="Google Shape;1050;p1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" name="Google Shape;1051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2" name="Google Shape;1052;p1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3" name="Google Shape;1053;p1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4" name="Google Shape;1054;p1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5" name="Google Shape;1055;p1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" name="Google Shape;1056;p1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" name="Google Shape;1057;p1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8" name="Google Shape;1058;p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0" name="Google Shape;1060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" name="Google Shape;1061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" name="Google Shape;1062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3" name="Google Shape;1063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4" name="Google Shape;1064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5" name="Google Shape;1065;p1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" name="Google Shape;1066;p13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7" name="Google Shape;1067;p13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8" name="Google Shape;1068;p13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9" name="Google Shape;1069;p13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0" name="Google Shape;1070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" name="Google Shape;1071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" name="Google Shape;1072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" name="Google Shape;1074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5" name="Google Shape;1075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" name="Google Shape;1076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7" name="Google Shape;1077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8" name="Google Shape;1078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9" name="Google Shape;1079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0" name="Google Shape;1080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" name="Google Shape;1081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" name="Google Shape;1082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4" name="Google Shape;1084;p14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5" name="Google Shape;1085;p14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6" name="Google Shape;1086;p14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7" name="Google Shape;1087;p14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" name="Google Shape;1088;p14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9" name="Google Shape;1089;p14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0" name="Google Shape;1090;p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1" name="Google Shape;1091;p1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Google Shape;1093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" name="Google Shape;1094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" name="Google Shape;1095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6" name="Google Shape;1096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7" name="Google Shape;1097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8" name="Google Shape;1098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9" name="Google Shape;1099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0" name="Google Shape;1100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" name="Google Shape;1102;p14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" name="Google Shape;1103;p14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" name="Google Shape;1104;p14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5" name="Google Shape;1105;p14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6" name="Google Shape;1106;p14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7" name="Google Shape;1107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4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1" name="Google Shape;1111;p14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12" name="Google Shape;1112;p14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3" name="Google Shape;1113;p1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4" name="Google Shape;1114;p14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5" name="Google Shape;1115;p14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6" name="Google Shape;1116;p14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" name="Google Shape;1117;p14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" name="Google Shape;1119;p14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20" name="Google Shape;1120;p14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21" name="Google Shape;1121;p14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2" name="Google Shape;1122;p14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3" name="Google Shape;1123;p14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4" name="Google Shape;1124;p14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25" name="Google Shape;1125;p14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Google Shape;1127;p1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8" name="Google Shape;1128;p1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" name="Google Shape;1129;p1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" name="Google Shape;1130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1" name="Google Shape;1131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2" name="Google Shape;1132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3" name="Google Shape;1133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4" name="Google Shape;1134;p1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5" name="Google Shape;1135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6" name="Google Shape;1136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7" name="Google Shape;1137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8" name="Google Shape;1138;p14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0" name="Google Shape;1140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4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5" name="Google Shape;1145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" name="Google Shape;1146;p1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" name="Google Shape;1147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" name="Google Shape;1148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" name="Google Shape;1149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" name="Google Shape;115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2" name="Google Shape;1152;p1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53" name="Google Shape;1153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" name="Google Shape;1154;p1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" name="Google Shape;1155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6" name="Google Shape;1156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7" name="Google Shape;1157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8" name="Google Shape;1158;p14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" name="Google Shape;1159;p14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0" name="Google Shape;1160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1" name="Google Shape;1161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3" name="Google Shape;1163;p1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" name="Google Shape;1164;p1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5" name="Google Shape;1165;p1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6" name="Google Shape;1166;p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7" name="Google Shape;1167;p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8" name="Google Shape;1168;p1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" name="Google Shape;1169;p1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0" name="Google Shape;1170;p1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1" name="Google Shape;1171;p1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2" name="Google Shape;1172;p1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3" name="Google Shape;1173;p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4" name="Google Shape;1174;p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" name="Google Shape;1175;p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7" name="Google Shape;1177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8" name="Google Shape;1178;p1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9" name="Google Shape;1179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0" name="Google Shape;1180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" name="Google Shape;1181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2" name="Google Shape;1182;p1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" name="Google Shape;1183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" name="Google Shape;1184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" name="Google Shape;1185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7" name="Google Shape;1187;p1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88" name="Google Shape;1188;p1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9" name="Google Shape;1189;p1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90" name="Google Shape;1190;p15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" name="Google Shape;1191;p1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3" name="Google Shape;1193;p15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94" name="Google Shape;1194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" name="Google Shape;1196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7" name="Google Shape;1197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8" name="Google Shape;1198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9" name="Google Shape;1199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0" name="Google Shape;1200;p1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1" name="Google Shape;1201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2" name="Google Shape;1202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3" name="Google Shape;1203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15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6" name="Google Shape;1206;p15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7" name="Google Shape;1207;p15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8" name="Google Shape;1208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9" name="Google Shape;1209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0" name="Google Shape;1210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11" name="Google Shape;1211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2" name="Google Shape;1212;p15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3" name="Google Shape;1213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4" name="Google Shape;1214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5" name="Google Shape;1215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6" name="Google Shape;1216;p15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53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9" name="Google Shape;1219;p153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220" name="Google Shape;1220;p153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221" name="Google Shape;1221;p153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2" name="Google Shape;1222;p153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223" name="Google Shape;1223;p15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5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6" name="Google Shape;1226;p15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27" name="Google Shape;1227;p15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8" name="Google Shape;1228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" name="Google Shape;1231;p15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2" name="Google Shape;1232;p15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3" name="Google Shape;1233;p15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34" name="Google Shape;123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5" name="Google Shape;1235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36" name="Google Shape;1236;p15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5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8" name="Google Shape;1238;p15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9" name="Google Shape;1239;p1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Google Shape;1241;p1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2" name="Google Shape;1242;p1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3" name="Google Shape;1243;p1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44" name="Google Shape;1244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5" name="Google Shape;124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6" name="Google Shape;1246;p1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7" name="Google Shape;1247;p1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49" name="Google Shape;1249;p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p1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2" name="Google Shape;1252;p1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5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58" name="Google Shape;1258;p15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59" name="Google Shape;1259;p1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1" name="Google Shape;1261;p1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4" name="Google Shape;1264;p1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5" name="Google Shape;1265;p1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6" name="Google Shape;1266;p1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7" name="Google Shape;1267;p1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68" name="Google Shape;1268;p15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" name="Google Shape;1270;p16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1" name="Google Shape;1271;p16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" name="Google Shape;1272;p16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3" name="Google Shape;1273;p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75" name="Google Shape;1275;p16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6" name="Google Shape;1276;p16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7" name="Google Shape;1277;p16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78" name="Google Shape;1278;p1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" name="Google Shape;1280;p16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1" name="Google Shape;1281;p1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6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87" name="Google Shape;1287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88" name="Google Shape;1288;p1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6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0" name="Google Shape;1290;p16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6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3" name="Google Shape;1293;p16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4" name="Google Shape;1294;p16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5" name="Google Shape;1295;p16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6" name="Google Shape;1296;p16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97" name="Google Shape;1297;p1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9" name="Google Shape;1299;p16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0" name="Google Shape;1300;p16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1" name="Google Shape;1301;p16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2" name="Google Shape;1302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3" name="Google Shape;1303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04" name="Google Shape;1304;p16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5" name="Google Shape;1305;p16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6" name="Google Shape;1306;p16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07" name="Google Shape;1307;p1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9" name="Google Shape;1309;p16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0" name="Google Shape;1310;p16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6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6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16" name="Google Shape;1316;p1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17" name="Google Shape;1317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8" name="Google Shape;1318;p16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6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Google Shape;1321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3" name="Google Shape;1323;p16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4" name="Google Shape;1324;p16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5" name="Google Shape;1325;p16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26" name="Google Shape;1326;p1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16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9" name="Google Shape;1329;p16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0" name="Google Shape;1330;p1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31" name="Google Shape;1331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2" name="Google Shape;1332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33" name="Google Shape;1333;p16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6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5" name="Google Shape;1335;p16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36" name="Google Shape;1336;p1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8" name="Google Shape;1338;p16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9" name="Google Shape;1339;p16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0" name="Google Shape;1340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1" name="Google Shape;1341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2" name="Google Shape;1342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3" name="Google Shape;1343;p16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4" name="Google Shape;1344;p16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5" name="Google Shape;1345;p16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46" name="Google Shape;1346;p16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" name="Google Shape;1348;p17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9" name="Google Shape;1349;p1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7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7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55" name="Google Shape;1355;p17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56" name="Google Shape;1356;p1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7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8" name="Google Shape;1358;p17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7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1" name="Google Shape;1361;p17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2" name="Google Shape;1362;p17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3" name="Google Shape;1363;p17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4" name="Google Shape;1364;p17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65" name="Google Shape;1365;p17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7" name="Google Shape;1367;p17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8" name="Google Shape;1368;p17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369" name="Google Shape;1369;p1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0" name="Google Shape;1370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1" name="Google Shape;1371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7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7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375" name="Google Shape;1375;p17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376" name="Google Shape;1376;p1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7" name="Google Shape;1377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8" name="Google Shape;1378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0" name="Google Shape;1380;p17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1" name="Google Shape;1381;p17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2" name="Google Shape;1382;p17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3" name="Google Shape;1383;p17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4" name="Google Shape;1384;p17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5" name="Google Shape;1385;p17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86" name="Google Shape;1386;p17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7" name="Google Shape;1387;p17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88" name="Google Shape;1388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0" name="Google Shape;1390;p1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1" name="Google Shape;1391;p1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2" name="Google Shape;1392;p1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3" name="Google Shape;1393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4" name="Google Shape;1394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5" name="Google Shape;1395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6" name="Google Shape;1396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7" name="Google Shape;1397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8" name="Google Shape;1398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9" name="Google Shape;1399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0" name="Google Shape;1400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01" name="Google Shape;1401;p1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3" name="Google Shape;1403;p17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4" name="Google Shape;1404;p17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5" name="Google Shape;1405;p17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7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7" name="Google Shape;1407;p17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8" name="Google Shape;1408;p17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09" name="Google Shape;1409;p17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7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411" name="Google Shape;1411;p17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" name="Google Shape;1413;p1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4" name="Google Shape;1414;p1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5" name="Google Shape;1415;p1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16" name="Google Shape;1416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7" name="Google Shape;1417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18" name="Google Shape;1418;p1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9" name="Google Shape;1419;p1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" name="Google Shape;1420;p1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21" name="Google Shape;1421;p17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" name="Google Shape;1423;p17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4" name="Google Shape;1424;p1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5" name="Google Shape;1425;p1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7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27" name="Google Shape;1427;p17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990995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9" name="Google Shape;1429;p1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30" name="Google Shape;1430;p1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31" name="Google Shape;1431;p1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18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3" name="Google Shape;1433;p18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5" name="Google Shape;1435;p1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6" name="Google Shape;1436;p1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" name="Google Shape;1437;p18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8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9" name="Google Shape;1439;p18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40" name="Google Shape;1440;p18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2" name="Google Shape;1442;p18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3" name="Google Shape;1443;p18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4" name="Google Shape;1444;p18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45" name="Google Shape;1445;p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6" name="Google Shape;1446;p1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7" name="Google Shape;1447;p18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8" name="Google Shape;1448;p18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9" name="Google Shape;1449;p18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0" name="Google Shape;1450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2" name="Google Shape;1452;p18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3" name="Google Shape;1453;p18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p18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5" name="Google Shape;1455;p18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6" name="Google Shape;1456;p18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8" name="Google Shape;1458;p1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59" name="Google Shape;1459;p1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60" name="Google Shape;1460;p1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1" name="Google Shape;1461;p18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8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" name="Google Shape;1464;p1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" name="Google Shape;1465;p1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8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7" name="Google Shape;1467;p18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8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69" name="Google Shape;1469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1" name="Google Shape;1471;p1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2" name="Google Shape;1472;p1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3" name="Google Shape;1473;p1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4" name="Google Shape;1474;p1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75" name="Google Shape;1475;p18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7" name="Google Shape;1477;p1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78" name="Google Shape;1478;p18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79" name="Google Shape;1479;p1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0" name="Google Shape;1480;p18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1" name="Google Shape;1481;p18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3" name="Google Shape;1483;p1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4" name="Google Shape;1484;p1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6" name="Google Shape;1486;p1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7" name="Google Shape;1487;p1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88" name="Google Shape;1488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0" name="Google Shape;1490;p18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1" name="Google Shape;1491;p18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2" name="Google Shape;1492;p18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93" name="Google Shape;1493;p1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94" name="Google Shape;1494;p18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95" name="Google Shape;1495;p1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8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9" name="Google Shape;1499;p1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00" name="Google Shape;1500;p1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1" name="Google Shape;1501;p1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2" name="Google Shape;1502;p1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03" name="Google Shape;1503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04" name="Google Shape;1504;p1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5" name="Google Shape;1505;p1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7" name="Google Shape;1507;p1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8" name="Google Shape;1508;p1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9" name="Google Shape;1509;p1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10" name="Google Shape;1510;p1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1" name="Google Shape;1511;p1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2" name="Google Shape;1512;p1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13" name="Google Shape;1513;p1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" name="Google Shape;1515;p1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6" name="Google Shape;1516;p1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7" name="Google Shape;1517;p1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8" name="Google Shape;1518;p1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9" name="Google Shape;1519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0" name="Google Shape;1520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21" name="Google Shape;152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2" name="Google Shape;1522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3" name="Google Shape;152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4" name="Google Shape;152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5" name="Google Shape;152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6" name="Google Shape;1526;p19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8" name="Google Shape;1528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9" name="Google Shape;1529;p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0" name="Google Shape;1530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1" name="Google Shape;1531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2" name="Google Shape;1532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3" name="Google Shape;1533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5" name="Google Shape;1535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6" name="Google Shape;1536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7" name="Google Shape;1537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" name="Google Shape;1539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0" name="Google Shape;1540;p1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41" name="Google Shape;154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2" name="Google Shape;154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3" name="Google Shape;154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4" name="Google Shape;154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5" name="Google Shape;154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6" name="Google Shape;1546;p19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7" name="Google Shape;1547;p19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8" name="Google Shape;1548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9" name="Google Shape;1549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1" name="Google Shape;1551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2" name="Google Shape;1552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3" name="Google Shape;1553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4" name="Google Shape;1554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5" name="Google Shape;1555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6" name="Google Shape;1556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7" name="Google Shape;1557;p1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8" name="Google Shape;1558;p1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1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60" name="Google Shape;1560;p1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1" name="Google Shape;1561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2" name="Google Shape;1562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3" name="Google Shape;1563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5" name="Google Shape;1565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6" name="Google Shape;1566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7" name="Google Shape;1567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8" name="Google Shape;1568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9" name="Google Shape;1569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0" name="Google Shape;1570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2" name="Google Shape;1572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3" name="Google Shape;1573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5" name="Google Shape;1575;p1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6" name="Google Shape;1576;p1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7" name="Google Shape;1577;p1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8" name="Google Shape;1578;p19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9" name="Google Shape;1579;p1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0" name="Google Shape;1580;p1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81" name="Google Shape;1581;p1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82" name="Google Shape;1582;p1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4" name="Google Shape;1584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5" name="Google Shape;1585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6" name="Google Shape;1586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7" name="Google Shape;1587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8" name="Google Shape;1588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9" name="Google Shape;1589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0" name="Google Shape;1590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1" name="Google Shape;1591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19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4" name="Google Shape;1594;p19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5" name="Google Shape;1595;p19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96" name="Google Shape;1596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97" name="Google Shape;1597;p19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98" name="Google Shape;1598;p1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9" name="Google Shape;1599;p19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0" name="Google Shape;1600;p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2" name="Google Shape;1602;p20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03" name="Google Shape;1603;p2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4" name="Google Shape;1604;p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5" name="Google Shape;1605;p2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6" name="Google Shape;1606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07" name="Google Shape;1607;p20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20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" name="Google Shape;1610;p2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11" name="Google Shape;1611;p2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12" name="Google Shape;1612;p2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13" name="Google Shape;1613;p2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4" name="Google Shape;1614;p2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15" name="Google Shape;1615;p2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16" name="Google Shape;1616;p2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8" name="Google Shape;1618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9" name="Google Shape;1619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0" name="Google Shape;1620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1" name="Google Shape;1621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2" name="Google Shape;1622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3" name="Google Shape;1623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24" name="Google Shape;1624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5" name="Google Shape;1625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6" name="Google Shape;1626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7" name="Google Shape;1627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8" name="Google Shape;1628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29" name="Google Shape;1629;p20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1" name="Google Shape;1631;p2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2" name="Google Shape;1632;p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3" name="Google Shape;1633;p2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4" name="Google Shape;1634;p2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5" name="Google Shape;1635;p2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6" name="Google Shape;1636;p2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2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8" name="Google Shape;1638;p2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9" name="Google Shape;1639;p2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0" name="Google Shape;1640;p2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2" name="Google Shape;1642;p2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3" name="Google Shape;1643;p2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44" name="Google Shape;1644;p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5" name="Google Shape;1645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6" name="Google Shape;1646;p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7" name="Google Shape;1647;p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8" name="Google Shape;1648;p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9" name="Google Shape;1649;p2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0" name="Google Shape;1650;p2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1" name="Google Shape;1651;p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2" name="Google Shape;1652;p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4" name="Google Shape;1654;p2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5" name="Google Shape;1655;p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6" name="Google Shape;1656;p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57" name="Google Shape;1657;p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8" name="Google Shape;1658;p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59" name="Google Shape;1659;p2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0" name="Google Shape;1660;p2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1" name="Google Shape;1661;p2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2" name="Google Shape;1662;p2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3" name="Google Shape;1663;p2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4" name="Google Shape;1664;p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5" name="Google Shape;1665;p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6" name="Google Shape;1666;p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8" name="Google Shape;1668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9" name="Google Shape;1669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0" name="Google Shape;1670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71" name="Google Shape;1671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2" name="Google Shape;1672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73" name="Google Shape;1673;p2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4" name="Google Shape;1674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5" name="Google Shape;1675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6" name="Google Shape;1676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8" name="Google Shape;1678;p2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79" name="Google Shape;1679;p2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0" name="Google Shape;1680;p2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1" name="Google Shape;1681;p2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2" name="Google Shape;1682;p2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" name="Google Shape;1683;p2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84" name="Google Shape;1684;p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85" name="Google Shape;1685;p2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7" name="Google Shape;168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8" name="Google Shape;168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9" name="Google Shape;168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90" name="Google Shape;169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1" name="Google Shape;1691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2" name="Google Shape;169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3" name="Google Shape;169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4" name="Google Shape;169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20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97" name="Google Shape;1697;p20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98" name="Google Shape;1698;p20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99" name="Google Shape;1699;p20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00" name="Google Shape;1700;p209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01" name="Google Shape;1701;p20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2" name="Google Shape;1702;p20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3" name="Google Shape;1703;p20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20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21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21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21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9" name="Google Shape;1709;p21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0" name="Google Shape;1710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11" name="Google Shape;1711;p21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3" name="Google Shape;1713;p21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4" name="Google Shape;1714;p21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5" name="Google Shape;1715;p21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16" name="Google Shape;1716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7" name="Google Shape;1717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18" name="Google Shape;1718;p21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9" name="Google Shape;1719;p21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0" name="Google Shape;1720;p21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21" name="Google Shape;1721;p2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21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24" name="Google Shape;1724;p2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5" name="Google Shape;1725;p21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726" name="Google Shape;1726;p21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27" name="Google Shape;1727;p212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28" name="Google Shape;1728;p21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9" name="Google Shape;1729;p21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0" name="Google Shape;1730;p21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1" name="Google Shape;1731;p21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3" name="Google Shape;1733;p213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4" name="Google Shape;1734;p213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3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6" name="Google Shape;1736;p213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7" name="Google Shape;1737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38" name="Google Shape;1738;p213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0" name="Google Shape;1740;p2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41" name="Google Shape;1741;p2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2" name="Google Shape;1742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3" name="Google Shape;1743;p2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44" name="Google Shape;1744;p2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45" name="Google Shape;1745;p2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6" name="Google Shape;1746;p2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8" name="Google Shape;1748;p21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49" name="Google Shape;1749;p21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50" name="Google Shape;1750;p21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51" name="Google Shape;1751;p21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2" name="Google Shape;1752;p21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53" name="Google Shape;1753;p21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54" name="Google Shape;1754;p21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6" name="Google Shape;1756;p2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59" name="Google Shape;1759;p2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0" name="Google Shape;1760;p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1" name="Google Shape;1761;p2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2" name="Google Shape;1762;p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3" name="Google Shape;1763;p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5" name="Google Shape;1765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6" name="Google Shape;1766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7" name="Google Shape;1767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8" name="Google Shape;1768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9" name="Google Shape;1769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0" name="Google Shape;1770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71" name="Google Shape;1771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72" name="Google Shape;1772;p2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73" name="Google Shape;1773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4" name="Google Shape;1774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5" name="Google Shape;1775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76" name="Google Shape;1776;p2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8" name="Google Shape;177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9" name="Google Shape;177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80" name="Google Shape;1780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1" name="Google Shape;1781;p2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2" name="Google Shape;1782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3" name="Google Shape;1783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4" name="Google Shape;1784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5" name="Google Shape;1785;p2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6" name="Google Shape;1786;p2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7" name="Google Shape;1787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8" name="Google Shape;1788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0" name="Google Shape;1790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1" name="Google Shape;1791;p21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2" name="Google Shape;1792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3" name="Google Shape;1793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4" name="Google Shape;1794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5" name="Google Shape;1795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6" name="Google Shape;1796;p2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7" name="Google Shape;1797;p2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8" name="Google Shape;1798;p2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9" name="Google Shape;1799;p2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0" name="Google Shape;1800;p2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01" name="Google Shape;1801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2" name="Google Shape;1802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4" name="Google Shape;1804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5" name="Google Shape;1805;p2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6" name="Google Shape;1806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7" name="Google Shape;1807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8" name="Google Shape;1808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09" name="Google Shape;1809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4" name="Google Shape;1814;p22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815" name="Google Shape;1815;p22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6" name="Google Shape;1816;p22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17" name="Google Shape;1817;p22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8" name="Google Shape;1818;p22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9" name="Google Shape;1819;p22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20" name="Google Shape;1820;p2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821" name="Google Shape;1821;p2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3" name="Google Shape;1823;p2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4" name="Google Shape;1824;p2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5" name="Google Shape;1825;p2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26" name="Google Shape;1826;p2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7" name="Google Shape;1827;p2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8" name="Google Shape;1828;p2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9" name="Google Shape;1829;p2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0" name="Google Shape;1830;p2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Google Shape;1832;p2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3" name="Google Shape;1833;p2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4" name="Google Shape;1834;p2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5" name="Google Shape;1835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6" name="Google Shape;1836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7" name="Google Shape;1837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8" name="Google Shape;1838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9" name="Google Shape;1839;p2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40" name="Google Shape;1840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41" name="Google Shape;1841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2" name="Google Shape;1842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43" name="Google Shape;1843;p2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6" name="Google Shape;1846;p22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47" name="Google Shape;1847;p22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48" name="Google Shape;1848;p22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9" name="Google Shape;1849;p22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50" name="Google Shape;1850;p22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22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2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2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55" name="Google Shape;1855;p2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56" name="Google Shape;1856;p2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57" name="Google Shape;1857;p2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8" name="Google Shape;1858;p2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59" name="Google Shape;1859;p22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1" name="Google Shape;1861;p2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62" name="Google Shape;1862;p2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3" name="Google Shape;1863;p2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4" name="Google Shape;1864;p2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65" name="Google Shape;1865;p2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66" name="Google Shape;1866;p2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2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9" name="Google Shape;1869;p22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0" name="Google Shape;1870;p22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71" name="Google Shape;1871;p22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72" name="Google Shape;1872;p22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3" name="Google Shape;1873;p22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74" name="Google Shape;1874;p22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5" name="Google Shape;1875;p22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2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9" name="Google Shape;1879;p2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1" name="Google Shape;1881;p2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2" name="Google Shape;188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83" name="Google Shape;1883;p2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84" name="Google Shape;1884;p22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5" name="Google Shape;1885;p2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6" name="Google Shape;1886;p2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7" name="Google Shape;1887;p2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88" name="Google Shape;1888;p22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Google Shape;1890;p2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2" name="Google Shape;1892;p2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3" name="Google Shape;1893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4" name="Google Shape;1894;p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5" name="Google Shape;1895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96" name="Google Shape;1896;p2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7" name="Google Shape;1897;p22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8" name="Google Shape;1898;p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9" name="Google Shape;1899;p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0" name="Google Shape;1900;p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01" name="Google Shape;1901;p22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3" name="Google Shape;1903;p2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4" name="Google Shape;1904;p2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5" name="Google Shape;1905;p2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6" name="Google Shape;1906;p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7" name="Google Shape;1907;p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8" name="Google Shape;1908;p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9" name="Google Shape;1909;p2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1" name="Google Shape;1911;p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2" name="Google Shape;1912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" name="Google Shape;1914;p2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16" name="Google Shape;1916;p2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7" name="Google Shape;1917;p2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8" name="Google Shape;1918;p2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9" name="Google Shape;1919;p2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0" name="Google Shape;1920;p2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1" name="Google Shape;1921;p23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2" name="Google Shape;1922;p23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3" name="Google Shape;1923;p2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4" name="Google Shape;1924;p2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6" name="Google Shape;1926;p2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27" name="Google Shape;1927;p23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28" name="Google Shape;1928;p2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29" name="Google Shape;1929;p2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0" name="Google Shape;1930;p2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31" name="Google Shape;1931;p2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2" name="Google Shape;1932;p23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3" name="Google Shape;1933;p23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3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5" name="Google Shape;1935;p23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6" name="Google Shape;1936;p2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7" name="Google Shape;1937;p2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8" name="Google Shape;1938;p2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0" name="Google Shape;1940;p2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41" name="Google Shape;1941;p23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42" name="Google Shape;1942;p2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3" name="Google Shape;1943;p2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4" name="Google Shape;1944;p2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45" name="Google Shape;1945;p2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6" name="Google Shape;1946;p2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47" name="Google Shape;1947;p2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8" name="Google Shape;1948;p2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0" name="Google Shape;1950;p23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51" name="Google Shape;1951;p23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2" name="Google Shape;1952;p23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53" name="Google Shape;1953;p23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4" name="Google Shape;1954;p23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5" name="Google Shape;1955;p23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56" name="Google Shape;1956;p2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57" name="Google Shape;1957;p2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9" name="Google Shape;1959;p2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60" name="Google Shape;1960;p2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1" name="Google Shape;1961;p2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2" name="Google Shape;1962;p2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3" name="Google Shape;1963;p23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4" name="Google Shape;1964;p2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5" name="Google Shape;1965;p2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6" name="Google Shape;1966;p2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8" name="Google Shape;1968;p23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36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0" name="Google Shape;1970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1" name="Google Shape;1971;p236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2" name="Google Shape;1972;p23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73" name="Google Shape;1973;p236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36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5" name="Google Shape;1975;p236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6" name="Google Shape;1976;p2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7" name="Google Shape;1977;p2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8" name="Google Shape;1978;p2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0" name="Google Shape;1980;p2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3" name="Google Shape;1983;p2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4" name="Google Shape;1984;p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5" name="Google Shape;1985;p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86" name="Google Shape;1986;p2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87" name="Google Shape;1987;p2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8" name="Google Shape;1988;p2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9" name="Google Shape;1989;p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0" name="Google Shape;1990;p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91" name="Google Shape;1991;p2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3" name="Google Shape;1993;p2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5" name="Google Shape;1995;p2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6" name="Google Shape;1996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97" name="Google Shape;1997;p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8" name="Google Shape;1998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99" name="Google Shape;1999;p2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00" name="Google Shape;2000;p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1" name="Google Shape;2001;p2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02" name="Google Shape;2002;p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3" name="Google Shape;2003;p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4" name="Google Shape;2004;p23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6731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55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4148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14856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grpSp>
        <p:nvGrpSpPr>
          <p:cNvPr id="31" name="Google Shape;31;p4"/>
          <p:cNvGrpSpPr/>
          <p:nvPr/>
        </p:nvGrpSpPr>
        <p:grpSpPr>
          <a:xfrm rot="367901">
            <a:off x="3846933" y="-1606811"/>
            <a:ext cx="9067003" cy="2372147"/>
            <a:chOff x="3270900" y="2843975"/>
            <a:chExt cx="1469475" cy="375975"/>
          </a:xfrm>
        </p:grpSpPr>
        <p:sp>
          <p:nvSpPr>
            <p:cNvPr id="32" name="Google Shape;32;p4"/>
            <p:cNvSpPr/>
            <p:nvPr/>
          </p:nvSpPr>
          <p:spPr>
            <a:xfrm>
              <a:off x="3270900" y="2843975"/>
              <a:ext cx="1469475" cy="375975"/>
            </a:xfrm>
            <a:custGeom>
              <a:avLst/>
              <a:gdLst/>
              <a:ahLst/>
              <a:cxnLst/>
              <a:rect l="l" t="t" r="r" b="b"/>
              <a:pathLst>
                <a:path w="58779" h="15039" extrusionOk="0">
                  <a:moveTo>
                    <a:pt x="40" y="251"/>
                  </a:moveTo>
                  <a:cubicBezTo>
                    <a:pt x="0" y="251"/>
                    <a:pt x="108" y="313"/>
                    <a:pt x="425" y="472"/>
                  </a:cubicBezTo>
                  <a:cubicBezTo>
                    <a:pt x="883" y="701"/>
                    <a:pt x="1509" y="808"/>
                    <a:pt x="2169" y="870"/>
                  </a:cubicBezTo>
                  <a:lnTo>
                    <a:pt x="2169" y="870"/>
                  </a:lnTo>
                  <a:cubicBezTo>
                    <a:pt x="1206" y="656"/>
                    <a:pt x="142" y="251"/>
                    <a:pt x="40" y="251"/>
                  </a:cubicBezTo>
                  <a:close/>
                  <a:moveTo>
                    <a:pt x="10025" y="1"/>
                  </a:moveTo>
                  <a:cubicBezTo>
                    <a:pt x="9252" y="1"/>
                    <a:pt x="8347" y="54"/>
                    <a:pt x="7228" y="181"/>
                  </a:cubicBezTo>
                  <a:cubicBezTo>
                    <a:pt x="5795" y="343"/>
                    <a:pt x="4856" y="538"/>
                    <a:pt x="3475" y="957"/>
                  </a:cubicBezTo>
                  <a:lnTo>
                    <a:pt x="3475" y="957"/>
                  </a:lnTo>
                  <a:cubicBezTo>
                    <a:pt x="3050" y="932"/>
                    <a:pt x="2602" y="911"/>
                    <a:pt x="2169" y="870"/>
                  </a:cubicBezTo>
                  <a:lnTo>
                    <a:pt x="2169" y="870"/>
                  </a:lnTo>
                  <a:cubicBezTo>
                    <a:pt x="2516" y="947"/>
                    <a:pt x="2850" y="1000"/>
                    <a:pt x="3121" y="1000"/>
                  </a:cubicBezTo>
                  <a:cubicBezTo>
                    <a:pt x="3256" y="1000"/>
                    <a:pt x="3376" y="987"/>
                    <a:pt x="3474" y="957"/>
                  </a:cubicBezTo>
                  <a:cubicBezTo>
                    <a:pt x="3474" y="957"/>
                    <a:pt x="3475" y="957"/>
                    <a:pt x="3475" y="957"/>
                  </a:cubicBezTo>
                  <a:lnTo>
                    <a:pt x="3475" y="957"/>
                  </a:lnTo>
                  <a:cubicBezTo>
                    <a:pt x="3921" y="982"/>
                    <a:pt x="4343" y="1010"/>
                    <a:pt x="4696" y="1067"/>
                  </a:cubicBezTo>
                  <a:cubicBezTo>
                    <a:pt x="6111" y="1291"/>
                    <a:pt x="7522" y="1547"/>
                    <a:pt x="8918" y="1867"/>
                  </a:cubicBezTo>
                  <a:cubicBezTo>
                    <a:pt x="11944" y="2558"/>
                    <a:pt x="14923" y="3538"/>
                    <a:pt x="17647" y="5046"/>
                  </a:cubicBezTo>
                  <a:cubicBezTo>
                    <a:pt x="21049" y="6930"/>
                    <a:pt x="23627" y="7708"/>
                    <a:pt x="26956" y="9717"/>
                  </a:cubicBezTo>
                  <a:cubicBezTo>
                    <a:pt x="33431" y="13626"/>
                    <a:pt x="41225" y="15038"/>
                    <a:pt x="48933" y="15038"/>
                  </a:cubicBezTo>
                  <a:cubicBezTo>
                    <a:pt x="51669" y="15038"/>
                    <a:pt x="54395" y="14860"/>
                    <a:pt x="57046" y="14552"/>
                  </a:cubicBezTo>
                  <a:cubicBezTo>
                    <a:pt x="57853" y="14459"/>
                    <a:pt x="58778" y="13851"/>
                    <a:pt x="58687" y="13045"/>
                  </a:cubicBezTo>
                  <a:cubicBezTo>
                    <a:pt x="58643" y="12668"/>
                    <a:pt x="58365" y="12363"/>
                    <a:pt x="58068" y="12126"/>
                  </a:cubicBezTo>
                  <a:cubicBezTo>
                    <a:pt x="56243" y="10673"/>
                    <a:pt x="53649" y="10981"/>
                    <a:pt x="51319" y="10871"/>
                  </a:cubicBezTo>
                  <a:cubicBezTo>
                    <a:pt x="49167" y="10768"/>
                    <a:pt x="47138" y="9869"/>
                    <a:pt x="44999" y="9606"/>
                  </a:cubicBezTo>
                  <a:cubicBezTo>
                    <a:pt x="33862" y="8232"/>
                    <a:pt x="26530" y="2093"/>
                    <a:pt x="18708" y="1371"/>
                  </a:cubicBezTo>
                  <a:cubicBezTo>
                    <a:pt x="14172" y="953"/>
                    <a:pt x="13284" y="1"/>
                    <a:pt x="1002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" name="Google Shape;33;p4"/>
            <p:cNvSpPr/>
            <p:nvPr/>
          </p:nvSpPr>
          <p:spPr>
            <a:xfrm>
              <a:off x="3845125" y="2930600"/>
              <a:ext cx="13800" cy="4825"/>
            </a:xfrm>
            <a:custGeom>
              <a:avLst/>
              <a:gdLst/>
              <a:ahLst/>
              <a:cxnLst/>
              <a:rect l="l" t="t" r="r" b="b"/>
              <a:pathLst>
                <a:path w="552" h="193" extrusionOk="0">
                  <a:moveTo>
                    <a:pt x="480" y="0"/>
                  </a:moveTo>
                  <a:cubicBezTo>
                    <a:pt x="344" y="6"/>
                    <a:pt x="210" y="27"/>
                    <a:pt x="75" y="42"/>
                  </a:cubicBezTo>
                  <a:cubicBezTo>
                    <a:pt x="55" y="43"/>
                    <a:pt x="36" y="51"/>
                    <a:pt x="23" y="64"/>
                  </a:cubicBezTo>
                  <a:cubicBezTo>
                    <a:pt x="9" y="78"/>
                    <a:pt x="0" y="97"/>
                    <a:pt x="0" y="117"/>
                  </a:cubicBezTo>
                  <a:cubicBezTo>
                    <a:pt x="2" y="152"/>
                    <a:pt x="31" y="192"/>
                    <a:pt x="70" y="192"/>
                  </a:cubicBezTo>
                  <a:cubicBezTo>
                    <a:pt x="71" y="192"/>
                    <a:pt x="73" y="192"/>
                    <a:pt x="75" y="192"/>
                  </a:cubicBezTo>
                  <a:cubicBezTo>
                    <a:pt x="218" y="178"/>
                    <a:pt x="359" y="168"/>
                    <a:pt x="499" y="144"/>
                  </a:cubicBezTo>
                  <a:cubicBezTo>
                    <a:pt x="533" y="137"/>
                    <a:pt x="550" y="103"/>
                    <a:pt x="552" y="73"/>
                  </a:cubicBezTo>
                  <a:cubicBezTo>
                    <a:pt x="552" y="67"/>
                    <a:pt x="552" y="60"/>
                    <a:pt x="550" y="54"/>
                  </a:cubicBezTo>
                  <a:cubicBezTo>
                    <a:pt x="540" y="22"/>
                    <a:pt x="512" y="1"/>
                    <a:pt x="4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" name="Google Shape;34;p4"/>
            <p:cNvSpPr/>
            <p:nvPr/>
          </p:nvSpPr>
          <p:spPr>
            <a:xfrm>
              <a:off x="3855900" y="2919575"/>
              <a:ext cx="10825" cy="5700"/>
            </a:xfrm>
            <a:custGeom>
              <a:avLst/>
              <a:gdLst/>
              <a:ahLst/>
              <a:cxnLst/>
              <a:rect l="l" t="t" r="r" b="b"/>
              <a:pathLst>
                <a:path w="433" h="228" extrusionOk="0">
                  <a:moveTo>
                    <a:pt x="128" y="203"/>
                  </a:moveTo>
                  <a:cubicBezTo>
                    <a:pt x="126" y="204"/>
                    <a:pt x="126" y="204"/>
                    <a:pt x="126" y="204"/>
                  </a:cubicBezTo>
                  <a:cubicBezTo>
                    <a:pt x="126" y="204"/>
                    <a:pt x="127" y="204"/>
                    <a:pt x="128" y="203"/>
                  </a:cubicBezTo>
                  <a:close/>
                  <a:moveTo>
                    <a:pt x="302" y="0"/>
                  </a:moveTo>
                  <a:cubicBezTo>
                    <a:pt x="267" y="3"/>
                    <a:pt x="235" y="8"/>
                    <a:pt x="202" y="17"/>
                  </a:cubicBezTo>
                  <a:cubicBezTo>
                    <a:pt x="138" y="36"/>
                    <a:pt x="79" y="68"/>
                    <a:pt x="28" y="111"/>
                  </a:cubicBezTo>
                  <a:cubicBezTo>
                    <a:pt x="1" y="134"/>
                    <a:pt x="3" y="184"/>
                    <a:pt x="28" y="208"/>
                  </a:cubicBezTo>
                  <a:cubicBezTo>
                    <a:pt x="41" y="221"/>
                    <a:pt x="58" y="227"/>
                    <a:pt x="76" y="227"/>
                  </a:cubicBezTo>
                  <a:cubicBezTo>
                    <a:pt x="93" y="227"/>
                    <a:pt x="110" y="221"/>
                    <a:pt x="124" y="208"/>
                  </a:cubicBezTo>
                  <a:lnTo>
                    <a:pt x="123" y="206"/>
                  </a:lnTo>
                  <a:cubicBezTo>
                    <a:pt x="126" y="204"/>
                    <a:pt x="128" y="202"/>
                    <a:pt x="131" y="200"/>
                  </a:cubicBezTo>
                  <a:lnTo>
                    <a:pt x="131" y="200"/>
                  </a:lnTo>
                  <a:cubicBezTo>
                    <a:pt x="131" y="200"/>
                    <a:pt x="129" y="202"/>
                    <a:pt x="128" y="203"/>
                  </a:cubicBezTo>
                  <a:lnTo>
                    <a:pt x="128" y="203"/>
                  </a:lnTo>
                  <a:cubicBezTo>
                    <a:pt x="128" y="203"/>
                    <a:pt x="129" y="202"/>
                    <a:pt x="129" y="202"/>
                  </a:cubicBezTo>
                  <a:cubicBezTo>
                    <a:pt x="135" y="198"/>
                    <a:pt x="140" y="194"/>
                    <a:pt x="145" y="190"/>
                  </a:cubicBezTo>
                  <a:cubicBezTo>
                    <a:pt x="156" y="183"/>
                    <a:pt x="167" y="177"/>
                    <a:pt x="179" y="170"/>
                  </a:cubicBezTo>
                  <a:cubicBezTo>
                    <a:pt x="184" y="167"/>
                    <a:pt x="190" y="165"/>
                    <a:pt x="197" y="162"/>
                  </a:cubicBezTo>
                  <a:cubicBezTo>
                    <a:pt x="197" y="161"/>
                    <a:pt x="198" y="161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199" y="161"/>
                    <a:pt x="199" y="161"/>
                  </a:cubicBezTo>
                  <a:cubicBezTo>
                    <a:pt x="200" y="161"/>
                    <a:pt x="201" y="160"/>
                    <a:pt x="203" y="159"/>
                  </a:cubicBezTo>
                  <a:lnTo>
                    <a:pt x="203" y="159"/>
                  </a:lnTo>
                  <a:cubicBezTo>
                    <a:pt x="202" y="160"/>
                    <a:pt x="200" y="160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200" y="160"/>
                    <a:pt x="203" y="159"/>
                  </a:cubicBezTo>
                  <a:cubicBezTo>
                    <a:pt x="204" y="158"/>
                    <a:pt x="204" y="158"/>
                    <a:pt x="205" y="158"/>
                  </a:cubicBezTo>
                  <a:lnTo>
                    <a:pt x="205" y="158"/>
                  </a:lnTo>
                  <a:cubicBezTo>
                    <a:pt x="205" y="158"/>
                    <a:pt x="204" y="159"/>
                    <a:pt x="203" y="159"/>
                  </a:cubicBezTo>
                  <a:lnTo>
                    <a:pt x="203" y="159"/>
                  </a:lnTo>
                  <a:cubicBezTo>
                    <a:pt x="204" y="159"/>
                    <a:pt x="205" y="158"/>
                    <a:pt x="205" y="158"/>
                  </a:cubicBezTo>
                  <a:lnTo>
                    <a:pt x="205" y="158"/>
                  </a:lnTo>
                  <a:cubicBezTo>
                    <a:pt x="217" y="153"/>
                    <a:pt x="230" y="149"/>
                    <a:pt x="242" y="146"/>
                  </a:cubicBezTo>
                  <a:cubicBezTo>
                    <a:pt x="256" y="142"/>
                    <a:pt x="267" y="140"/>
                    <a:pt x="280" y="136"/>
                  </a:cubicBezTo>
                  <a:lnTo>
                    <a:pt x="300" y="133"/>
                  </a:lnTo>
                  <a:lnTo>
                    <a:pt x="303" y="133"/>
                  </a:lnTo>
                  <a:cubicBezTo>
                    <a:pt x="300" y="134"/>
                    <a:pt x="299" y="134"/>
                    <a:pt x="299" y="134"/>
                  </a:cubicBezTo>
                  <a:cubicBezTo>
                    <a:pt x="299" y="134"/>
                    <a:pt x="305" y="133"/>
                    <a:pt x="306" y="133"/>
                  </a:cubicBezTo>
                  <a:cubicBezTo>
                    <a:pt x="319" y="132"/>
                    <a:pt x="333" y="131"/>
                    <a:pt x="345" y="131"/>
                  </a:cubicBezTo>
                  <a:cubicBezTo>
                    <a:pt x="348" y="131"/>
                    <a:pt x="350" y="131"/>
                    <a:pt x="352" y="131"/>
                  </a:cubicBezTo>
                  <a:cubicBezTo>
                    <a:pt x="362" y="131"/>
                    <a:pt x="373" y="129"/>
                    <a:pt x="382" y="126"/>
                  </a:cubicBezTo>
                  <a:cubicBezTo>
                    <a:pt x="391" y="123"/>
                    <a:pt x="398" y="120"/>
                    <a:pt x="405" y="116"/>
                  </a:cubicBezTo>
                  <a:cubicBezTo>
                    <a:pt x="422" y="106"/>
                    <a:pt x="433" y="88"/>
                    <a:pt x="432" y="69"/>
                  </a:cubicBezTo>
                  <a:cubicBezTo>
                    <a:pt x="432" y="49"/>
                    <a:pt x="421" y="32"/>
                    <a:pt x="405" y="22"/>
                  </a:cubicBezTo>
                  <a:cubicBezTo>
                    <a:pt x="398" y="16"/>
                    <a:pt x="391" y="11"/>
                    <a:pt x="382" y="8"/>
                  </a:cubicBezTo>
                  <a:cubicBezTo>
                    <a:pt x="370" y="4"/>
                    <a:pt x="357" y="0"/>
                    <a:pt x="3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" name="Google Shape;35;p4"/>
            <p:cNvSpPr/>
            <p:nvPr/>
          </p:nvSpPr>
          <p:spPr>
            <a:xfrm>
              <a:off x="4065050" y="3127375"/>
              <a:ext cx="26350" cy="6400"/>
            </a:xfrm>
            <a:custGeom>
              <a:avLst/>
              <a:gdLst/>
              <a:ahLst/>
              <a:cxnLst/>
              <a:rect l="l" t="t" r="r" b="b"/>
              <a:pathLst>
                <a:path w="1054" h="256" extrusionOk="0">
                  <a:moveTo>
                    <a:pt x="893" y="3"/>
                  </a:moveTo>
                  <a:cubicBezTo>
                    <a:pt x="864" y="4"/>
                    <a:pt x="836" y="6"/>
                    <a:pt x="807" y="9"/>
                  </a:cubicBezTo>
                  <a:cubicBezTo>
                    <a:pt x="750" y="14"/>
                    <a:pt x="694" y="20"/>
                    <a:pt x="637" y="26"/>
                  </a:cubicBezTo>
                  <a:lnTo>
                    <a:pt x="295" y="63"/>
                  </a:lnTo>
                  <a:cubicBezTo>
                    <a:pt x="258" y="67"/>
                    <a:pt x="220" y="70"/>
                    <a:pt x="183" y="77"/>
                  </a:cubicBezTo>
                  <a:cubicBezTo>
                    <a:pt x="150" y="83"/>
                    <a:pt x="119" y="90"/>
                    <a:pt x="88" y="100"/>
                  </a:cubicBezTo>
                  <a:cubicBezTo>
                    <a:pt x="1" y="124"/>
                    <a:pt x="19" y="253"/>
                    <a:pt x="109" y="253"/>
                  </a:cubicBezTo>
                  <a:lnTo>
                    <a:pt x="128" y="254"/>
                  </a:lnTo>
                  <a:lnTo>
                    <a:pt x="143" y="254"/>
                  </a:lnTo>
                  <a:cubicBezTo>
                    <a:pt x="125" y="254"/>
                    <a:pt x="162" y="256"/>
                    <a:pt x="161" y="256"/>
                  </a:cubicBezTo>
                  <a:lnTo>
                    <a:pt x="194" y="256"/>
                  </a:lnTo>
                  <a:cubicBezTo>
                    <a:pt x="222" y="256"/>
                    <a:pt x="251" y="251"/>
                    <a:pt x="279" y="247"/>
                  </a:cubicBezTo>
                  <a:lnTo>
                    <a:pt x="449" y="230"/>
                  </a:lnTo>
                  <a:cubicBezTo>
                    <a:pt x="563" y="217"/>
                    <a:pt x="678" y="205"/>
                    <a:pt x="791" y="191"/>
                  </a:cubicBezTo>
                  <a:cubicBezTo>
                    <a:pt x="828" y="186"/>
                    <a:pt x="866" y="184"/>
                    <a:pt x="902" y="177"/>
                  </a:cubicBezTo>
                  <a:cubicBezTo>
                    <a:pt x="918" y="174"/>
                    <a:pt x="932" y="169"/>
                    <a:pt x="946" y="166"/>
                  </a:cubicBezTo>
                  <a:cubicBezTo>
                    <a:pt x="955" y="164"/>
                    <a:pt x="963" y="162"/>
                    <a:pt x="972" y="160"/>
                  </a:cubicBezTo>
                  <a:cubicBezTo>
                    <a:pt x="989" y="155"/>
                    <a:pt x="1004" y="146"/>
                    <a:pt x="1017" y="135"/>
                  </a:cubicBezTo>
                  <a:cubicBezTo>
                    <a:pt x="1054" y="106"/>
                    <a:pt x="1042" y="38"/>
                    <a:pt x="1002" y="18"/>
                  </a:cubicBezTo>
                  <a:cubicBezTo>
                    <a:pt x="967" y="1"/>
                    <a:pt x="930" y="4"/>
                    <a:pt x="893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" name="Google Shape;36;p4"/>
            <p:cNvSpPr/>
            <p:nvPr/>
          </p:nvSpPr>
          <p:spPr>
            <a:xfrm>
              <a:off x="4439100" y="3121250"/>
              <a:ext cx="21650" cy="7400"/>
            </a:xfrm>
            <a:custGeom>
              <a:avLst/>
              <a:gdLst/>
              <a:ahLst/>
              <a:cxnLst/>
              <a:rect l="l" t="t" r="r" b="b"/>
              <a:pathLst>
                <a:path w="866" h="296" extrusionOk="0">
                  <a:moveTo>
                    <a:pt x="770" y="0"/>
                  </a:moveTo>
                  <a:cubicBezTo>
                    <a:pt x="750" y="1"/>
                    <a:pt x="730" y="4"/>
                    <a:pt x="711" y="10"/>
                  </a:cubicBezTo>
                  <a:lnTo>
                    <a:pt x="622" y="30"/>
                  </a:lnTo>
                  <a:lnTo>
                    <a:pt x="434" y="72"/>
                  </a:lnTo>
                  <a:lnTo>
                    <a:pt x="61" y="154"/>
                  </a:lnTo>
                  <a:cubicBezTo>
                    <a:pt x="23" y="166"/>
                    <a:pt x="1" y="205"/>
                    <a:pt x="11" y="243"/>
                  </a:cubicBezTo>
                  <a:cubicBezTo>
                    <a:pt x="20" y="275"/>
                    <a:pt x="49" y="295"/>
                    <a:pt x="81" y="295"/>
                  </a:cubicBezTo>
                  <a:cubicBezTo>
                    <a:pt x="87" y="295"/>
                    <a:pt x="93" y="295"/>
                    <a:pt x="99" y="293"/>
                  </a:cubicBezTo>
                  <a:lnTo>
                    <a:pt x="100" y="293"/>
                  </a:lnTo>
                  <a:lnTo>
                    <a:pt x="474" y="215"/>
                  </a:lnTo>
                  <a:lnTo>
                    <a:pt x="659" y="176"/>
                  </a:lnTo>
                  <a:lnTo>
                    <a:pt x="752" y="157"/>
                  </a:lnTo>
                  <a:cubicBezTo>
                    <a:pt x="771" y="154"/>
                    <a:pt x="790" y="149"/>
                    <a:pt x="807" y="139"/>
                  </a:cubicBezTo>
                  <a:cubicBezTo>
                    <a:pt x="826" y="128"/>
                    <a:pt x="841" y="111"/>
                    <a:pt x="851" y="92"/>
                  </a:cubicBezTo>
                  <a:cubicBezTo>
                    <a:pt x="865" y="69"/>
                    <a:pt x="857" y="38"/>
                    <a:pt x="833" y="23"/>
                  </a:cubicBezTo>
                  <a:cubicBezTo>
                    <a:pt x="814" y="10"/>
                    <a:pt x="793" y="2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7" name="Google Shape;37;p4"/>
            <p:cNvSpPr/>
            <p:nvPr/>
          </p:nvSpPr>
          <p:spPr>
            <a:xfrm>
              <a:off x="4463250" y="3129575"/>
              <a:ext cx="22075" cy="7975"/>
            </a:xfrm>
            <a:custGeom>
              <a:avLst/>
              <a:gdLst/>
              <a:ahLst/>
              <a:cxnLst/>
              <a:rect l="l" t="t" r="r" b="b"/>
              <a:pathLst>
                <a:path w="883" h="319" extrusionOk="0">
                  <a:moveTo>
                    <a:pt x="794" y="1"/>
                  </a:moveTo>
                  <a:cubicBezTo>
                    <a:pt x="768" y="1"/>
                    <a:pt x="742" y="8"/>
                    <a:pt x="717" y="14"/>
                  </a:cubicBezTo>
                  <a:cubicBezTo>
                    <a:pt x="685" y="21"/>
                    <a:pt x="653" y="31"/>
                    <a:pt x="622" y="39"/>
                  </a:cubicBezTo>
                  <a:cubicBezTo>
                    <a:pt x="561" y="56"/>
                    <a:pt x="500" y="73"/>
                    <a:pt x="439" y="91"/>
                  </a:cubicBezTo>
                  <a:cubicBezTo>
                    <a:pt x="379" y="108"/>
                    <a:pt x="318" y="125"/>
                    <a:pt x="258" y="145"/>
                  </a:cubicBezTo>
                  <a:lnTo>
                    <a:pt x="70" y="206"/>
                  </a:lnTo>
                  <a:cubicBezTo>
                    <a:pt x="0" y="222"/>
                    <a:pt x="20" y="319"/>
                    <a:pt x="81" y="319"/>
                  </a:cubicBezTo>
                  <a:cubicBezTo>
                    <a:pt x="87" y="319"/>
                    <a:pt x="93" y="318"/>
                    <a:pt x="100" y="316"/>
                  </a:cubicBezTo>
                  <a:lnTo>
                    <a:pt x="100" y="317"/>
                  </a:lnTo>
                  <a:lnTo>
                    <a:pt x="293" y="276"/>
                  </a:lnTo>
                  <a:cubicBezTo>
                    <a:pt x="356" y="264"/>
                    <a:pt x="417" y="248"/>
                    <a:pt x="478" y="233"/>
                  </a:cubicBezTo>
                  <a:cubicBezTo>
                    <a:pt x="539" y="219"/>
                    <a:pt x="601" y="204"/>
                    <a:pt x="662" y="188"/>
                  </a:cubicBezTo>
                  <a:cubicBezTo>
                    <a:pt x="694" y="179"/>
                    <a:pt x="727" y="172"/>
                    <a:pt x="757" y="163"/>
                  </a:cubicBezTo>
                  <a:cubicBezTo>
                    <a:pt x="798" y="150"/>
                    <a:pt x="847" y="140"/>
                    <a:pt x="867" y="99"/>
                  </a:cubicBezTo>
                  <a:cubicBezTo>
                    <a:pt x="883" y="70"/>
                    <a:pt x="873" y="33"/>
                    <a:pt x="845" y="15"/>
                  </a:cubicBezTo>
                  <a:cubicBezTo>
                    <a:pt x="829" y="4"/>
                    <a:pt x="812" y="1"/>
                    <a:pt x="7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" name="Google Shape;38;p4"/>
            <p:cNvSpPr/>
            <p:nvPr/>
          </p:nvSpPr>
          <p:spPr>
            <a:xfrm>
              <a:off x="4088575" y="3140300"/>
              <a:ext cx="15225" cy="3725"/>
            </a:xfrm>
            <a:custGeom>
              <a:avLst/>
              <a:gdLst/>
              <a:ahLst/>
              <a:cxnLst/>
              <a:rect l="l" t="t" r="r" b="b"/>
              <a:pathLst>
                <a:path w="609" h="149" extrusionOk="0">
                  <a:moveTo>
                    <a:pt x="574" y="1"/>
                  </a:moveTo>
                  <a:cubicBezTo>
                    <a:pt x="553" y="1"/>
                    <a:pt x="534" y="8"/>
                    <a:pt x="514" y="14"/>
                  </a:cubicBezTo>
                  <a:cubicBezTo>
                    <a:pt x="492" y="19"/>
                    <a:pt x="471" y="25"/>
                    <a:pt x="449" y="31"/>
                  </a:cubicBezTo>
                  <a:cubicBezTo>
                    <a:pt x="406" y="44"/>
                    <a:pt x="362" y="54"/>
                    <a:pt x="316" y="62"/>
                  </a:cubicBezTo>
                  <a:cubicBezTo>
                    <a:pt x="250" y="73"/>
                    <a:pt x="184" y="78"/>
                    <a:pt x="117" y="78"/>
                  </a:cubicBezTo>
                  <a:cubicBezTo>
                    <a:pt x="94" y="78"/>
                    <a:pt x="71" y="78"/>
                    <a:pt x="49" y="76"/>
                  </a:cubicBezTo>
                  <a:cubicBezTo>
                    <a:pt x="48" y="76"/>
                    <a:pt x="47" y="76"/>
                    <a:pt x="46" y="76"/>
                  </a:cubicBezTo>
                  <a:cubicBezTo>
                    <a:pt x="0" y="76"/>
                    <a:pt x="0" y="146"/>
                    <a:pt x="46" y="146"/>
                  </a:cubicBezTo>
                  <a:cubicBezTo>
                    <a:pt x="47" y="146"/>
                    <a:pt x="48" y="146"/>
                    <a:pt x="49" y="146"/>
                  </a:cubicBezTo>
                  <a:cubicBezTo>
                    <a:pt x="77" y="148"/>
                    <a:pt x="106" y="149"/>
                    <a:pt x="135" y="149"/>
                  </a:cubicBezTo>
                  <a:cubicBezTo>
                    <a:pt x="200" y="149"/>
                    <a:pt x="266" y="144"/>
                    <a:pt x="330" y="134"/>
                  </a:cubicBezTo>
                  <a:cubicBezTo>
                    <a:pt x="377" y="127"/>
                    <a:pt x="422" y="118"/>
                    <a:pt x="467" y="106"/>
                  </a:cubicBezTo>
                  <a:cubicBezTo>
                    <a:pt x="488" y="99"/>
                    <a:pt x="509" y="92"/>
                    <a:pt x="530" y="84"/>
                  </a:cubicBezTo>
                  <a:cubicBezTo>
                    <a:pt x="553" y="75"/>
                    <a:pt x="582" y="68"/>
                    <a:pt x="597" y="48"/>
                  </a:cubicBezTo>
                  <a:cubicBezTo>
                    <a:pt x="608" y="34"/>
                    <a:pt x="608" y="6"/>
                    <a:pt x="585" y="1"/>
                  </a:cubicBezTo>
                  <a:cubicBezTo>
                    <a:pt x="582" y="1"/>
                    <a:pt x="578" y="1"/>
                    <a:pt x="5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3037638234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2">
  <p:cSld name="CUSTOM_14_1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title" idx="2"/>
          </p:nvPr>
        </p:nvSpPr>
        <p:spPr>
          <a:xfrm>
            <a:off x="5036524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39" name="Google Shape;139;p14"/>
          <p:cNvSpPr txBox="1">
            <a:spLocks noGrp="1"/>
          </p:cNvSpPr>
          <p:nvPr>
            <p:ph type="title" idx="3"/>
          </p:nvPr>
        </p:nvSpPr>
        <p:spPr>
          <a:xfrm>
            <a:off x="1380557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0" name="Google Shape;140;p14"/>
          <p:cNvSpPr txBox="1">
            <a:spLocks noGrp="1"/>
          </p:cNvSpPr>
          <p:nvPr>
            <p:ph type="title" idx="4"/>
          </p:nvPr>
        </p:nvSpPr>
        <p:spPr>
          <a:xfrm>
            <a:off x="5036524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1" name="Google Shape;141;p14"/>
          <p:cNvSpPr txBox="1">
            <a:spLocks noGrp="1"/>
          </p:cNvSpPr>
          <p:nvPr>
            <p:ph type="title" idx="5"/>
          </p:nvPr>
        </p:nvSpPr>
        <p:spPr>
          <a:xfrm>
            <a:off x="1380557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2" name="Google Shape;142;p14"/>
          <p:cNvSpPr txBox="1">
            <a:spLocks noGrp="1"/>
          </p:cNvSpPr>
          <p:nvPr>
            <p:ph type="title" idx="6"/>
          </p:nvPr>
        </p:nvSpPr>
        <p:spPr>
          <a:xfrm>
            <a:off x="5036549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3" name="Google Shape;143;p14"/>
          <p:cNvSpPr txBox="1">
            <a:spLocks noGrp="1"/>
          </p:cNvSpPr>
          <p:nvPr>
            <p:ph type="title" idx="7"/>
          </p:nvPr>
        </p:nvSpPr>
        <p:spPr>
          <a:xfrm>
            <a:off x="5036549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4" name="Google Shape;144;p14"/>
          <p:cNvSpPr txBox="1">
            <a:spLocks noGrp="1"/>
          </p:cNvSpPr>
          <p:nvPr>
            <p:ph type="title" idx="8"/>
          </p:nvPr>
        </p:nvSpPr>
        <p:spPr>
          <a:xfrm>
            <a:off x="1380533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title" idx="9"/>
          </p:nvPr>
        </p:nvSpPr>
        <p:spPr>
          <a:xfrm>
            <a:off x="1380533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6" name="Google Shape;146;p14"/>
          <p:cNvSpPr txBox="1">
            <a:spLocks noGrp="1"/>
          </p:cNvSpPr>
          <p:nvPr>
            <p:ph type="title" idx="13" hasCustomPrompt="1"/>
          </p:nvPr>
        </p:nvSpPr>
        <p:spPr>
          <a:xfrm>
            <a:off x="1380581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7" name="Google Shape;147;p14"/>
          <p:cNvSpPr txBox="1">
            <a:spLocks noGrp="1"/>
          </p:cNvSpPr>
          <p:nvPr>
            <p:ph type="title" idx="14" hasCustomPrompt="1"/>
          </p:nvPr>
        </p:nvSpPr>
        <p:spPr>
          <a:xfrm>
            <a:off x="5036525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8" name="Google Shape;148;p14"/>
          <p:cNvSpPr txBox="1">
            <a:spLocks noGrp="1"/>
          </p:cNvSpPr>
          <p:nvPr>
            <p:ph type="title" idx="15" hasCustomPrompt="1"/>
          </p:nvPr>
        </p:nvSpPr>
        <p:spPr>
          <a:xfrm>
            <a:off x="1380599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9" name="Google Shape;149;p14"/>
          <p:cNvSpPr txBox="1">
            <a:spLocks noGrp="1"/>
          </p:cNvSpPr>
          <p:nvPr>
            <p:ph type="title" idx="16" hasCustomPrompt="1"/>
          </p:nvPr>
        </p:nvSpPr>
        <p:spPr>
          <a:xfrm>
            <a:off x="5036544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50" name="Google Shape;150;p14"/>
          <p:cNvSpPr txBox="1">
            <a:spLocks noGrp="1"/>
          </p:cNvSpPr>
          <p:nvPr>
            <p:ph type="title" idx="17"/>
          </p:nvPr>
        </p:nvSpPr>
        <p:spPr>
          <a:xfrm>
            <a:off x="8692515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1" name="Google Shape;151;p14"/>
          <p:cNvSpPr txBox="1">
            <a:spLocks noGrp="1"/>
          </p:cNvSpPr>
          <p:nvPr>
            <p:ph type="title" idx="18"/>
          </p:nvPr>
        </p:nvSpPr>
        <p:spPr>
          <a:xfrm>
            <a:off x="8692515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52" name="Google Shape;152;p14"/>
          <p:cNvSpPr txBox="1">
            <a:spLocks noGrp="1"/>
          </p:cNvSpPr>
          <p:nvPr>
            <p:ph type="title" idx="19"/>
          </p:nvPr>
        </p:nvSpPr>
        <p:spPr>
          <a:xfrm>
            <a:off x="8692515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3" name="Google Shape;153;p14"/>
          <p:cNvSpPr txBox="1">
            <a:spLocks noGrp="1"/>
          </p:cNvSpPr>
          <p:nvPr>
            <p:ph type="title" idx="20"/>
          </p:nvPr>
        </p:nvSpPr>
        <p:spPr>
          <a:xfrm>
            <a:off x="8692515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54" name="Google Shape;154;p14"/>
          <p:cNvSpPr txBox="1">
            <a:spLocks noGrp="1"/>
          </p:cNvSpPr>
          <p:nvPr>
            <p:ph type="title" idx="21" hasCustomPrompt="1"/>
          </p:nvPr>
        </p:nvSpPr>
        <p:spPr>
          <a:xfrm>
            <a:off x="8692515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55" name="Google Shape;155;p14"/>
          <p:cNvSpPr txBox="1">
            <a:spLocks noGrp="1"/>
          </p:cNvSpPr>
          <p:nvPr>
            <p:ph type="title" idx="22" hasCustomPrompt="1"/>
          </p:nvPr>
        </p:nvSpPr>
        <p:spPr>
          <a:xfrm>
            <a:off x="8692515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grpSp>
        <p:nvGrpSpPr>
          <p:cNvPr id="156" name="Google Shape;156;p14"/>
          <p:cNvGrpSpPr/>
          <p:nvPr/>
        </p:nvGrpSpPr>
        <p:grpSpPr>
          <a:xfrm>
            <a:off x="5729194" y="-2356691"/>
            <a:ext cx="6616353" cy="4906852"/>
            <a:chOff x="4822800" y="2395325"/>
            <a:chExt cx="807450" cy="598825"/>
          </a:xfrm>
        </p:grpSpPr>
        <p:sp>
          <p:nvSpPr>
            <p:cNvPr id="157" name="Google Shape;157;p14"/>
            <p:cNvSpPr/>
            <p:nvPr/>
          </p:nvSpPr>
          <p:spPr>
            <a:xfrm>
              <a:off x="5094575" y="2654525"/>
              <a:ext cx="12650" cy="3625"/>
            </a:xfrm>
            <a:custGeom>
              <a:avLst/>
              <a:gdLst/>
              <a:ahLst/>
              <a:cxnLst/>
              <a:rect l="l" t="t" r="r" b="b"/>
              <a:pathLst>
                <a:path w="506" h="145" extrusionOk="0">
                  <a:moveTo>
                    <a:pt x="70" y="0"/>
                  </a:moveTo>
                  <a:cubicBezTo>
                    <a:pt x="34" y="0"/>
                    <a:pt x="0" y="37"/>
                    <a:pt x="2" y="72"/>
                  </a:cubicBezTo>
                  <a:cubicBezTo>
                    <a:pt x="3" y="107"/>
                    <a:pt x="32" y="145"/>
                    <a:pt x="70" y="145"/>
                  </a:cubicBezTo>
                  <a:cubicBezTo>
                    <a:pt x="71" y="145"/>
                    <a:pt x="73" y="145"/>
                    <a:pt x="74" y="145"/>
                  </a:cubicBezTo>
                  <a:cubicBezTo>
                    <a:pt x="143" y="138"/>
                    <a:pt x="210" y="133"/>
                    <a:pt x="279" y="127"/>
                  </a:cubicBezTo>
                  <a:cubicBezTo>
                    <a:pt x="312" y="124"/>
                    <a:pt x="346" y="121"/>
                    <a:pt x="379" y="118"/>
                  </a:cubicBezTo>
                  <a:cubicBezTo>
                    <a:pt x="398" y="116"/>
                    <a:pt x="416" y="112"/>
                    <a:pt x="435" y="109"/>
                  </a:cubicBezTo>
                  <a:cubicBezTo>
                    <a:pt x="452" y="107"/>
                    <a:pt x="467" y="102"/>
                    <a:pt x="483" y="97"/>
                  </a:cubicBezTo>
                  <a:cubicBezTo>
                    <a:pt x="505" y="88"/>
                    <a:pt x="505" y="56"/>
                    <a:pt x="483" y="48"/>
                  </a:cubicBezTo>
                  <a:cubicBezTo>
                    <a:pt x="467" y="42"/>
                    <a:pt x="452" y="38"/>
                    <a:pt x="435" y="36"/>
                  </a:cubicBezTo>
                  <a:cubicBezTo>
                    <a:pt x="416" y="33"/>
                    <a:pt x="398" y="29"/>
                    <a:pt x="379" y="27"/>
                  </a:cubicBezTo>
                  <a:cubicBezTo>
                    <a:pt x="346" y="22"/>
                    <a:pt x="312" y="21"/>
                    <a:pt x="279" y="18"/>
                  </a:cubicBezTo>
                  <a:cubicBezTo>
                    <a:pt x="210" y="11"/>
                    <a:pt x="143" y="7"/>
                    <a:pt x="74" y="0"/>
                  </a:cubicBezTo>
                  <a:cubicBezTo>
                    <a:pt x="73" y="0"/>
                    <a:pt x="7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8" name="Google Shape;158;p14"/>
            <p:cNvSpPr/>
            <p:nvPr/>
          </p:nvSpPr>
          <p:spPr>
            <a:xfrm>
              <a:off x="5106150" y="2668325"/>
              <a:ext cx="8925" cy="3875"/>
            </a:xfrm>
            <a:custGeom>
              <a:avLst/>
              <a:gdLst/>
              <a:ahLst/>
              <a:cxnLst/>
              <a:rect l="l" t="t" r="r" b="b"/>
              <a:pathLst>
                <a:path w="357" h="155" extrusionOk="0">
                  <a:moveTo>
                    <a:pt x="154" y="1"/>
                  </a:moveTo>
                  <a:cubicBezTo>
                    <a:pt x="128" y="1"/>
                    <a:pt x="101" y="2"/>
                    <a:pt x="75" y="3"/>
                  </a:cubicBezTo>
                  <a:cubicBezTo>
                    <a:pt x="34" y="3"/>
                    <a:pt x="1" y="36"/>
                    <a:pt x="0" y="78"/>
                  </a:cubicBezTo>
                  <a:cubicBezTo>
                    <a:pt x="1" y="119"/>
                    <a:pt x="34" y="151"/>
                    <a:pt x="75" y="152"/>
                  </a:cubicBezTo>
                  <a:cubicBezTo>
                    <a:pt x="104" y="152"/>
                    <a:pt x="133" y="154"/>
                    <a:pt x="161" y="154"/>
                  </a:cubicBezTo>
                  <a:cubicBezTo>
                    <a:pt x="171" y="154"/>
                    <a:pt x="180" y="154"/>
                    <a:pt x="190" y="154"/>
                  </a:cubicBezTo>
                  <a:lnTo>
                    <a:pt x="245" y="150"/>
                  </a:lnTo>
                  <a:cubicBezTo>
                    <a:pt x="255" y="150"/>
                    <a:pt x="265" y="149"/>
                    <a:pt x="275" y="148"/>
                  </a:cubicBezTo>
                  <a:cubicBezTo>
                    <a:pt x="298" y="147"/>
                    <a:pt x="320" y="137"/>
                    <a:pt x="333" y="120"/>
                  </a:cubicBezTo>
                  <a:cubicBezTo>
                    <a:pt x="357" y="96"/>
                    <a:pt x="357" y="59"/>
                    <a:pt x="333" y="35"/>
                  </a:cubicBezTo>
                  <a:cubicBezTo>
                    <a:pt x="320" y="18"/>
                    <a:pt x="298" y="7"/>
                    <a:pt x="275" y="6"/>
                  </a:cubicBezTo>
                  <a:cubicBezTo>
                    <a:pt x="265" y="5"/>
                    <a:pt x="255" y="5"/>
                    <a:pt x="245" y="5"/>
                  </a:cubicBezTo>
                  <a:lnTo>
                    <a:pt x="190" y="2"/>
                  </a:lnTo>
                  <a:cubicBezTo>
                    <a:pt x="178" y="1"/>
                    <a:pt x="166" y="1"/>
                    <a:pt x="1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9" name="Google Shape;159;p14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0" name="Google Shape;160;p14"/>
            <p:cNvSpPr/>
            <p:nvPr/>
          </p:nvSpPr>
          <p:spPr>
            <a:xfrm>
              <a:off x="4999325" y="2416675"/>
              <a:ext cx="14800" cy="4675"/>
            </a:xfrm>
            <a:custGeom>
              <a:avLst/>
              <a:gdLst/>
              <a:ahLst/>
              <a:cxnLst/>
              <a:rect l="l" t="t" r="r" b="b"/>
              <a:pathLst>
                <a:path w="592" h="187" extrusionOk="0">
                  <a:moveTo>
                    <a:pt x="227" y="1"/>
                  </a:moveTo>
                  <a:cubicBezTo>
                    <a:pt x="221" y="1"/>
                    <a:pt x="215" y="1"/>
                    <a:pt x="209" y="1"/>
                  </a:cubicBezTo>
                  <a:cubicBezTo>
                    <a:pt x="169" y="1"/>
                    <a:pt x="129" y="4"/>
                    <a:pt x="89" y="9"/>
                  </a:cubicBezTo>
                  <a:cubicBezTo>
                    <a:pt x="65" y="9"/>
                    <a:pt x="43" y="19"/>
                    <a:pt x="26" y="36"/>
                  </a:cubicBezTo>
                  <a:cubicBezTo>
                    <a:pt x="10" y="52"/>
                    <a:pt x="0" y="74"/>
                    <a:pt x="0" y="98"/>
                  </a:cubicBezTo>
                  <a:cubicBezTo>
                    <a:pt x="0" y="121"/>
                    <a:pt x="10" y="143"/>
                    <a:pt x="26" y="160"/>
                  </a:cubicBezTo>
                  <a:cubicBezTo>
                    <a:pt x="41" y="173"/>
                    <a:pt x="62" y="187"/>
                    <a:pt x="84" y="187"/>
                  </a:cubicBezTo>
                  <a:cubicBezTo>
                    <a:pt x="86" y="187"/>
                    <a:pt x="87" y="187"/>
                    <a:pt x="89" y="187"/>
                  </a:cubicBezTo>
                  <a:lnTo>
                    <a:pt x="89" y="186"/>
                  </a:lnTo>
                  <a:cubicBezTo>
                    <a:pt x="127" y="180"/>
                    <a:pt x="165" y="178"/>
                    <a:pt x="204" y="176"/>
                  </a:cubicBezTo>
                  <a:cubicBezTo>
                    <a:pt x="216" y="176"/>
                    <a:pt x="229" y="177"/>
                    <a:pt x="243" y="177"/>
                  </a:cubicBezTo>
                  <a:cubicBezTo>
                    <a:pt x="249" y="177"/>
                    <a:pt x="256" y="176"/>
                    <a:pt x="263" y="176"/>
                  </a:cubicBezTo>
                  <a:lnTo>
                    <a:pt x="278" y="174"/>
                  </a:lnTo>
                  <a:lnTo>
                    <a:pt x="278" y="174"/>
                  </a:lnTo>
                  <a:cubicBezTo>
                    <a:pt x="280" y="174"/>
                    <a:pt x="282" y="175"/>
                    <a:pt x="284" y="175"/>
                  </a:cubicBezTo>
                  <a:cubicBezTo>
                    <a:pt x="286" y="175"/>
                    <a:pt x="288" y="174"/>
                    <a:pt x="290" y="174"/>
                  </a:cubicBezTo>
                  <a:lnTo>
                    <a:pt x="322" y="174"/>
                  </a:lnTo>
                  <a:cubicBezTo>
                    <a:pt x="332" y="174"/>
                    <a:pt x="342" y="175"/>
                    <a:pt x="351" y="175"/>
                  </a:cubicBezTo>
                  <a:cubicBezTo>
                    <a:pt x="365" y="175"/>
                    <a:pt x="379" y="174"/>
                    <a:pt x="392" y="169"/>
                  </a:cubicBezTo>
                  <a:lnTo>
                    <a:pt x="404" y="169"/>
                  </a:lnTo>
                  <a:cubicBezTo>
                    <a:pt x="414" y="169"/>
                    <a:pt x="425" y="169"/>
                    <a:pt x="434" y="170"/>
                  </a:cubicBezTo>
                  <a:cubicBezTo>
                    <a:pt x="453" y="171"/>
                    <a:pt x="471" y="172"/>
                    <a:pt x="489" y="174"/>
                  </a:cubicBezTo>
                  <a:cubicBezTo>
                    <a:pt x="497" y="175"/>
                    <a:pt x="504" y="175"/>
                    <a:pt x="512" y="175"/>
                  </a:cubicBezTo>
                  <a:cubicBezTo>
                    <a:pt x="526" y="175"/>
                    <a:pt x="540" y="174"/>
                    <a:pt x="554" y="172"/>
                  </a:cubicBezTo>
                  <a:cubicBezTo>
                    <a:pt x="583" y="168"/>
                    <a:pt x="592" y="124"/>
                    <a:pt x="571" y="105"/>
                  </a:cubicBezTo>
                  <a:cubicBezTo>
                    <a:pt x="539" y="77"/>
                    <a:pt x="498" y="63"/>
                    <a:pt x="458" y="50"/>
                  </a:cubicBezTo>
                  <a:lnTo>
                    <a:pt x="428" y="39"/>
                  </a:lnTo>
                  <a:lnTo>
                    <a:pt x="413" y="35"/>
                  </a:lnTo>
                  <a:lnTo>
                    <a:pt x="411" y="34"/>
                  </a:lnTo>
                  <a:lnTo>
                    <a:pt x="411" y="34"/>
                  </a:lnTo>
                  <a:cubicBezTo>
                    <a:pt x="408" y="32"/>
                    <a:pt x="404" y="29"/>
                    <a:pt x="401" y="27"/>
                  </a:cubicBezTo>
                  <a:cubicBezTo>
                    <a:pt x="392" y="22"/>
                    <a:pt x="383" y="19"/>
                    <a:pt x="373" y="17"/>
                  </a:cubicBezTo>
                  <a:cubicBezTo>
                    <a:pt x="363" y="15"/>
                    <a:pt x="352" y="14"/>
                    <a:pt x="343" y="13"/>
                  </a:cubicBezTo>
                  <a:cubicBezTo>
                    <a:pt x="328" y="11"/>
                    <a:pt x="313" y="8"/>
                    <a:pt x="298" y="6"/>
                  </a:cubicBezTo>
                  <a:cubicBezTo>
                    <a:pt x="295" y="6"/>
                    <a:pt x="289" y="5"/>
                    <a:pt x="285" y="5"/>
                  </a:cubicBezTo>
                  <a:lnTo>
                    <a:pt x="285" y="5"/>
                  </a:lnTo>
                  <a:cubicBezTo>
                    <a:pt x="285" y="5"/>
                    <a:pt x="285" y="5"/>
                    <a:pt x="285" y="5"/>
                  </a:cubicBezTo>
                  <a:cubicBezTo>
                    <a:pt x="265" y="2"/>
                    <a:pt x="246" y="1"/>
                    <a:pt x="22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1" name="Google Shape;161;p14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2" name="Google Shape;162;p14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3" name="Google Shape;163;p14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4" name="Google Shape;164;p14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5" name="Google Shape;165;p14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6" name="Google Shape;166;p14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7" name="Google Shape;167;p14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8" name="Google Shape;168;p14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169" name="Google Shape;169;p14"/>
          <p:cNvGrpSpPr/>
          <p:nvPr/>
        </p:nvGrpSpPr>
        <p:grpSpPr>
          <a:xfrm flipH="1">
            <a:off x="8093941" y="5917719"/>
            <a:ext cx="4251604" cy="1156044"/>
            <a:chOff x="1296625" y="5272425"/>
            <a:chExt cx="751450" cy="204325"/>
          </a:xfrm>
        </p:grpSpPr>
        <p:sp>
          <p:nvSpPr>
            <p:cNvPr id="170" name="Google Shape;170;p14"/>
            <p:cNvSpPr/>
            <p:nvPr/>
          </p:nvSpPr>
          <p:spPr>
            <a:xfrm>
              <a:off x="1296625" y="5272425"/>
              <a:ext cx="751450" cy="204325"/>
            </a:xfrm>
            <a:custGeom>
              <a:avLst/>
              <a:gdLst/>
              <a:ahLst/>
              <a:cxnLst/>
              <a:rect l="l" t="t" r="r" b="b"/>
              <a:pathLst>
                <a:path w="30058" h="8173" extrusionOk="0">
                  <a:moveTo>
                    <a:pt x="1831" y="0"/>
                  </a:moveTo>
                  <a:cubicBezTo>
                    <a:pt x="1359" y="0"/>
                    <a:pt x="921" y="261"/>
                    <a:pt x="576" y="977"/>
                  </a:cubicBezTo>
                  <a:cubicBezTo>
                    <a:pt x="0" y="2170"/>
                    <a:pt x="458" y="4179"/>
                    <a:pt x="1209" y="5205"/>
                  </a:cubicBezTo>
                  <a:cubicBezTo>
                    <a:pt x="2352" y="6765"/>
                    <a:pt x="4549" y="7016"/>
                    <a:pt x="6482" y="7078"/>
                  </a:cubicBezTo>
                  <a:cubicBezTo>
                    <a:pt x="12255" y="7267"/>
                    <a:pt x="18061" y="6994"/>
                    <a:pt x="23788" y="7750"/>
                  </a:cubicBezTo>
                  <a:cubicBezTo>
                    <a:pt x="25169" y="7932"/>
                    <a:pt x="26573" y="8173"/>
                    <a:pt x="27959" y="8173"/>
                  </a:cubicBezTo>
                  <a:cubicBezTo>
                    <a:pt x="28665" y="8173"/>
                    <a:pt x="29367" y="8110"/>
                    <a:pt x="30058" y="7945"/>
                  </a:cubicBezTo>
                  <a:cubicBezTo>
                    <a:pt x="26482" y="6211"/>
                    <a:pt x="22600" y="5194"/>
                    <a:pt x="18632" y="4954"/>
                  </a:cubicBezTo>
                  <a:cubicBezTo>
                    <a:pt x="16764" y="4841"/>
                    <a:pt x="14885" y="4902"/>
                    <a:pt x="13025" y="4685"/>
                  </a:cubicBezTo>
                  <a:cubicBezTo>
                    <a:pt x="9662" y="4293"/>
                    <a:pt x="6423" y="2958"/>
                    <a:pt x="3732" y="908"/>
                  </a:cubicBezTo>
                  <a:cubicBezTo>
                    <a:pt x="3126" y="447"/>
                    <a:pt x="2449" y="0"/>
                    <a:pt x="18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71" name="Google Shape;171;p14"/>
            <p:cNvSpPr/>
            <p:nvPr/>
          </p:nvSpPr>
          <p:spPr>
            <a:xfrm>
              <a:off x="1429850" y="5340900"/>
              <a:ext cx="17250" cy="14500"/>
            </a:xfrm>
            <a:custGeom>
              <a:avLst/>
              <a:gdLst/>
              <a:ahLst/>
              <a:cxnLst/>
              <a:rect l="l" t="t" r="r" b="b"/>
              <a:pathLst>
                <a:path w="690" h="580" extrusionOk="0">
                  <a:moveTo>
                    <a:pt x="217" y="194"/>
                  </a:moveTo>
                  <a:cubicBezTo>
                    <a:pt x="217" y="194"/>
                    <a:pt x="218" y="195"/>
                    <a:pt x="219" y="196"/>
                  </a:cubicBezTo>
                  <a:lnTo>
                    <a:pt x="219" y="196"/>
                  </a:lnTo>
                  <a:lnTo>
                    <a:pt x="218" y="196"/>
                  </a:lnTo>
                  <a:cubicBezTo>
                    <a:pt x="217" y="194"/>
                    <a:pt x="217" y="194"/>
                    <a:pt x="217" y="194"/>
                  </a:cubicBezTo>
                  <a:close/>
                  <a:moveTo>
                    <a:pt x="364" y="341"/>
                  </a:moveTo>
                  <a:cubicBezTo>
                    <a:pt x="365" y="342"/>
                    <a:pt x="365" y="342"/>
                    <a:pt x="366" y="342"/>
                  </a:cubicBezTo>
                  <a:lnTo>
                    <a:pt x="364" y="341"/>
                  </a:lnTo>
                  <a:close/>
                  <a:moveTo>
                    <a:pt x="68" y="0"/>
                  </a:moveTo>
                  <a:cubicBezTo>
                    <a:pt x="56" y="0"/>
                    <a:pt x="46" y="3"/>
                    <a:pt x="37" y="8"/>
                  </a:cubicBezTo>
                  <a:cubicBezTo>
                    <a:pt x="6" y="28"/>
                    <a:pt x="1" y="61"/>
                    <a:pt x="15" y="94"/>
                  </a:cubicBezTo>
                  <a:cubicBezTo>
                    <a:pt x="59" y="194"/>
                    <a:pt x="122" y="285"/>
                    <a:pt x="199" y="363"/>
                  </a:cubicBezTo>
                  <a:cubicBezTo>
                    <a:pt x="239" y="403"/>
                    <a:pt x="282" y="438"/>
                    <a:pt x="328" y="471"/>
                  </a:cubicBezTo>
                  <a:cubicBezTo>
                    <a:pt x="374" y="503"/>
                    <a:pt x="425" y="528"/>
                    <a:pt x="478" y="545"/>
                  </a:cubicBezTo>
                  <a:cubicBezTo>
                    <a:pt x="506" y="554"/>
                    <a:pt x="534" y="563"/>
                    <a:pt x="563" y="569"/>
                  </a:cubicBezTo>
                  <a:cubicBezTo>
                    <a:pt x="585" y="576"/>
                    <a:pt x="608" y="579"/>
                    <a:pt x="631" y="579"/>
                  </a:cubicBezTo>
                  <a:cubicBezTo>
                    <a:pt x="641" y="579"/>
                    <a:pt x="650" y="579"/>
                    <a:pt x="660" y="578"/>
                  </a:cubicBezTo>
                  <a:cubicBezTo>
                    <a:pt x="689" y="573"/>
                    <a:pt x="686" y="535"/>
                    <a:pt x="667" y="522"/>
                  </a:cubicBezTo>
                  <a:cubicBezTo>
                    <a:pt x="647" y="508"/>
                    <a:pt x="625" y="497"/>
                    <a:pt x="602" y="489"/>
                  </a:cubicBezTo>
                  <a:cubicBezTo>
                    <a:pt x="579" y="479"/>
                    <a:pt x="557" y="468"/>
                    <a:pt x="534" y="455"/>
                  </a:cubicBezTo>
                  <a:cubicBezTo>
                    <a:pt x="491" y="431"/>
                    <a:pt x="450" y="400"/>
                    <a:pt x="408" y="373"/>
                  </a:cubicBezTo>
                  <a:cubicBezTo>
                    <a:pt x="397" y="367"/>
                    <a:pt x="388" y="359"/>
                    <a:pt x="377" y="352"/>
                  </a:cubicBezTo>
                  <a:lnTo>
                    <a:pt x="365" y="341"/>
                  </a:lnTo>
                  <a:cubicBezTo>
                    <a:pt x="364" y="341"/>
                    <a:pt x="363" y="340"/>
                    <a:pt x="363" y="340"/>
                  </a:cubicBezTo>
                  <a:lnTo>
                    <a:pt x="363" y="340"/>
                  </a:lnTo>
                  <a:lnTo>
                    <a:pt x="356" y="335"/>
                  </a:lnTo>
                  <a:cubicBezTo>
                    <a:pt x="336" y="319"/>
                    <a:pt x="317" y="302"/>
                    <a:pt x="299" y="284"/>
                  </a:cubicBezTo>
                  <a:cubicBezTo>
                    <a:pt x="281" y="268"/>
                    <a:pt x="263" y="249"/>
                    <a:pt x="247" y="230"/>
                  </a:cubicBezTo>
                  <a:cubicBezTo>
                    <a:pt x="238" y="221"/>
                    <a:pt x="231" y="212"/>
                    <a:pt x="223" y="201"/>
                  </a:cubicBezTo>
                  <a:lnTo>
                    <a:pt x="219" y="197"/>
                  </a:lnTo>
                  <a:cubicBezTo>
                    <a:pt x="214" y="190"/>
                    <a:pt x="211" y="185"/>
                    <a:pt x="206" y="179"/>
                  </a:cubicBezTo>
                  <a:cubicBezTo>
                    <a:pt x="173" y="133"/>
                    <a:pt x="144" y="83"/>
                    <a:pt x="121" y="30"/>
                  </a:cubicBezTo>
                  <a:cubicBezTo>
                    <a:pt x="113" y="11"/>
                    <a:pt x="90" y="0"/>
                    <a:pt x="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72" name="Google Shape;172;p14"/>
            <p:cNvSpPr/>
            <p:nvPr/>
          </p:nvSpPr>
          <p:spPr>
            <a:xfrm>
              <a:off x="1436300" y="5366700"/>
              <a:ext cx="19050" cy="9500"/>
            </a:xfrm>
            <a:custGeom>
              <a:avLst/>
              <a:gdLst/>
              <a:ahLst/>
              <a:cxnLst/>
              <a:rect l="l" t="t" r="r" b="b"/>
              <a:pathLst>
                <a:path w="762" h="380" extrusionOk="0">
                  <a:moveTo>
                    <a:pt x="556" y="240"/>
                  </a:moveTo>
                  <a:lnTo>
                    <a:pt x="556" y="240"/>
                  </a:lnTo>
                  <a:cubicBezTo>
                    <a:pt x="558" y="240"/>
                    <a:pt x="560" y="240"/>
                    <a:pt x="562" y="240"/>
                  </a:cubicBezTo>
                  <a:cubicBezTo>
                    <a:pt x="562" y="240"/>
                    <a:pt x="558" y="240"/>
                    <a:pt x="556" y="240"/>
                  </a:cubicBezTo>
                  <a:close/>
                  <a:moveTo>
                    <a:pt x="65" y="0"/>
                  </a:moveTo>
                  <a:cubicBezTo>
                    <a:pt x="50" y="0"/>
                    <a:pt x="35" y="6"/>
                    <a:pt x="23" y="18"/>
                  </a:cubicBezTo>
                  <a:cubicBezTo>
                    <a:pt x="0" y="41"/>
                    <a:pt x="0" y="78"/>
                    <a:pt x="23" y="102"/>
                  </a:cubicBezTo>
                  <a:cubicBezTo>
                    <a:pt x="169" y="252"/>
                    <a:pt x="361" y="348"/>
                    <a:pt x="567" y="375"/>
                  </a:cubicBezTo>
                  <a:cubicBezTo>
                    <a:pt x="584" y="378"/>
                    <a:pt x="600" y="380"/>
                    <a:pt x="617" y="380"/>
                  </a:cubicBezTo>
                  <a:cubicBezTo>
                    <a:pt x="656" y="380"/>
                    <a:pt x="695" y="372"/>
                    <a:pt x="731" y="356"/>
                  </a:cubicBezTo>
                  <a:cubicBezTo>
                    <a:pt x="749" y="350"/>
                    <a:pt x="760" y="333"/>
                    <a:pt x="761" y="313"/>
                  </a:cubicBezTo>
                  <a:cubicBezTo>
                    <a:pt x="761" y="290"/>
                    <a:pt x="742" y="275"/>
                    <a:pt x="722" y="269"/>
                  </a:cubicBezTo>
                  <a:cubicBezTo>
                    <a:pt x="700" y="261"/>
                    <a:pt x="677" y="255"/>
                    <a:pt x="653" y="252"/>
                  </a:cubicBezTo>
                  <a:cubicBezTo>
                    <a:pt x="638" y="249"/>
                    <a:pt x="622" y="248"/>
                    <a:pt x="607" y="246"/>
                  </a:cubicBezTo>
                  <a:cubicBezTo>
                    <a:pt x="603" y="246"/>
                    <a:pt x="600" y="245"/>
                    <a:pt x="597" y="245"/>
                  </a:cubicBezTo>
                  <a:cubicBezTo>
                    <a:pt x="598" y="245"/>
                    <a:pt x="599" y="245"/>
                    <a:pt x="600" y="245"/>
                  </a:cubicBezTo>
                  <a:lnTo>
                    <a:pt x="600" y="245"/>
                  </a:lnTo>
                  <a:cubicBezTo>
                    <a:pt x="599" y="245"/>
                    <a:pt x="597" y="245"/>
                    <a:pt x="595" y="245"/>
                  </a:cubicBezTo>
                  <a:cubicBezTo>
                    <a:pt x="586" y="243"/>
                    <a:pt x="577" y="242"/>
                    <a:pt x="568" y="241"/>
                  </a:cubicBezTo>
                  <a:lnTo>
                    <a:pt x="560" y="240"/>
                  </a:lnTo>
                  <a:cubicBezTo>
                    <a:pt x="556" y="240"/>
                    <a:pt x="554" y="240"/>
                    <a:pt x="555" y="240"/>
                  </a:cubicBezTo>
                  <a:cubicBezTo>
                    <a:pt x="555" y="240"/>
                    <a:pt x="555" y="240"/>
                    <a:pt x="556" y="240"/>
                  </a:cubicBezTo>
                  <a:lnTo>
                    <a:pt x="556" y="240"/>
                  </a:lnTo>
                  <a:cubicBezTo>
                    <a:pt x="553" y="240"/>
                    <a:pt x="550" y="239"/>
                    <a:pt x="546" y="238"/>
                  </a:cubicBezTo>
                  <a:cubicBezTo>
                    <a:pt x="534" y="236"/>
                    <a:pt x="520" y="234"/>
                    <a:pt x="508" y="231"/>
                  </a:cubicBezTo>
                  <a:cubicBezTo>
                    <a:pt x="460" y="220"/>
                    <a:pt x="412" y="207"/>
                    <a:pt x="367" y="189"/>
                  </a:cubicBezTo>
                  <a:lnTo>
                    <a:pt x="358" y="184"/>
                  </a:lnTo>
                  <a:lnTo>
                    <a:pt x="339" y="176"/>
                  </a:lnTo>
                  <a:cubicBezTo>
                    <a:pt x="325" y="171"/>
                    <a:pt x="313" y="164"/>
                    <a:pt x="301" y="158"/>
                  </a:cubicBezTo>
                  <a:cubicBezTo>
                    <a:pt x="276" y="145"/>
                    <a:pt x="253" y="132"/>
                    <a:pt x="230" y="117"/>
                  </a:cubicBezTo>
                  <a:cubicBezTo>
                    <a:pt x="218" y="110"/>
                    <a:pt x="207" y="101"/>
                    <a:pt x="195" y="93"/>
                  </a:cubicBezTo>
                  <a:lnTo>
                    <a:pt x="178" y="81"/>
                  </a:lnTo>
                  <a:lnTo>
                    <a:pt x="176" y="79"/>
                  </a:lnTo>
                  <a:lnTo>
                    <a:pt x="170" y="74"/>
                  </a:lnTo>
                  <a:cubicBezTo>
                    <a:pt x="148" y="57"/>
                    <a:pt x="127" y="38"/>
                    <a:pt x="107" y="18"/>
                  </a:cubicBezTo>
                  <a:cubicBezTo>
                    <a:pt x="95" y="6"/>
                    <a:pt x="80" y="0"/>
                    <a:pt x="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1934916602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ctrTitle"/>
          </p:nvPr>
        </p:nvSpPr>
        <p:spPr>
          <a:xfrm>
            <a:off x="609600" y="1908817"/>
            <a:ext cx="4748400" cy="1971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subTitle" idx="1"/>
          </p:nvPr>
        </p:nvSpPr>
        <p:spPr>
          <a:xfrm>
            <a:off x="609600" y="3880017"/>
            <a:ext cx="3794000" cy="106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5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59" name="Google Shape;59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1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16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63" name="Google Shape;63;p1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p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17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7" name="Google Shape;67;p17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68" name="Google Shape;68;p1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8"/>
          <p:cNvSpPr txBox="1">
            <a:spLocks noGrp="1"/>
          </p:cNvSpPr>
          <p:nvPr>
            <p:ph type="title"/>
          </p:nvPr>
        </p:nvSpPr>
        <p:spPr>
          <a:xfrm>
            <a:off x="609600" y="548633"/>
            <a:ext cx="10972800" cy="64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Fira Sans"/>
              <a:buNone/>
              <a:defRPr sz="2400" b="1">
                <a:solidFill>
                  <a:srgbClr val="000000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9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73" name="Google Shape;73;p19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74" name="Google Shape;74;p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20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77" name="Google Shape;77;p2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21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80" name="Google Shape;80;p21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81" name="Google Shape;81;p21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82" name="Google Shape;82;p21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83" name="Google Shape;83;p2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22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86" name="Google Shape;86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3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89" name="Google Shape;89;p23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90" name="Google Shape;90;p2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2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19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38.xml"/><Relationship Id="rId324" Type="http://schemas.openxmlformats.org/officeDocument/2006/relationships/slideLayout" Target="../slideLayouts/slideLayout341.xml"/><Relationship Id="rId531" Type="http://schemas.openxmlformats.org/officeDocument/2006/relationships/slideLayout" Target="../slideLayouts/slideLayout548.xml"/><Relationship Id="rId170" Type="http://schemas.openxmlformats.org/officeDocument/2006/relationships/slideLayout" Target="../slideLayouts/slideLayout187.xml"/><Relationship Id="rId268" Type="http://schemas.openxmlformats.org/officeDocument/2006/relationships/slideLayout" Target="../slideLayouts/slideLayout285.xml"/><Relationship Id="rId475" Type="http://schemas.openxmlformats.org/officeDocument/2006/relationships/slideLayout" Target="../slideLayouts/slideLayout492.xml"/><Relationship Id="rId32" Type="http://schemas.openxmlformats.org/officeDocument/2006/relationships/slideLayout" Target="../slideLayouts/slideLayout49.xml"/><Relationship Id="rId128" Type="http://schemas.openxmlformats.org/officeDocument/2006/relationships/slideLayout" Target="../slideLayouts/slideLayout145.xml"/><Relationship Id="rId335" Type="http://schemas.openxmlformats.org/officeDocument/2006/relationships/slideLayout" Target="../slideLayouts/slideLayout352.xml"/><Relationship Id="rId542" Type="http://schemas.openxmlformats.org/officeDocument/2006/relationships/slideLayout" Target="../slideLayouts/slideLayout559.xml"/><Relationship Id="rId181" Type="http://schemas.openxmlformats.org/officeDocument/2006/relationships/slideLayout" Target="../slideLayouts/slideLayout198.xml"/><Relationship Id="rId402" Type="http://schemas.openxmlformats.org/officeDocument/2006/relationships/slideLayout" Target="../slideLayouts/slideLayout419.xml"/><Relationship Id="rId279" Type="http://schemas.openxmlformats.org/officeDocument/2006/relationships/slideLayout" Target="../slideLayouts/slideLayout296.xml"/><Relationship Id="rId486" Type="http://schemas.openxmlformats.org/officeDocument/2006/relationships/slideLayout" Target="../slideLayouts/slideLayout503.xml"/><Relationship Id="rId43" Type="http://schemas.openxmlformats.org/officeDocument/2006/relationships/slideLayout" Target="../slideLayouts/slideLayout60.xml"/><Relationship Id="rId139" Type="http://schemas.openxmlformats.org/officeDocument/2006/relationships/slideLayout" Target="../slideLayouts/slideLayout156.xml"/><Relationship Id="rId346" Type="http://schemas.openxmlformats.org/officeDocument/2006/relationships/slideLayout" Target="../slideLayouts/slideLayout363.xml"/><Relationship Id="rId553" Type="http://schemas.openxmlformats.org/officeDocument/2006/relationships/theme" Target="../theme/theme2.xml"/><Relationship Id="rId192" Type="http://schemas.openxmlformats.org/officeDocument/2006/relationships/slideLayout" Target="../slideLayouts/slideLayout209.xml"/><Relationship Id="rId206" Type="http://schemas.openxmlformats.org/officeDocument/2006/relationships/slideLayout" Target="../slideLayouts/slideLayout223.xml"/><Relationship Id="rId413" Type="http://schemas.openxmlformats.org/officeDocument/2006/relationships/slideLayout" Target="../slideLayouts/slideLayout430.xml"/><Relationship Id="rId497" Type="http://schemas.openxmlformats.org/officeDocument/2006/relationships/slideLayout" Target="../slideLayouts/slideLayout514.xml"/><Relationship Id="rId357" Type="http://schemas.openxmlformats.org/officeDocument/2006/relationships/slideLayout" Target="../slideLayouts/slideLayout374.xml"/><Relationship Id="rId54" Type="http://schemas.openxmlformats.org/officeDocument/2006/relationships/slideLayout" Target="../slideLayouts/slideLayout71.xml"/><Relationship Id="rId96" Type="http://schemas.openxmlformats.org/officeDocument/2006/relationships/slideLayout" Target="../slideLayouts/slideLayout113.xml"/><Relationship Id="rId161" Type="http://schemas.openxmlformats.org/officeDocument/2006/relationships/slideLayout" Target="../slideLayouts/slideLayout178.xml"/><Relationship Id="rId217" Type="http://schemas.openxmlformats.org/officeDocument/2006/relationships/slideLayout" Target="../slideLayouts/slideLayout234.xml"/><Relationship Id="rId399" Type="http://schemas.openxmlformats.org/officeDocument/2006/relationships/slideLayout" Target="../slideLayouts/slideLayout416.xml"/><Relationship Id="rId259" Type="http://schemas.openxmlformats.org/officeDocument/2006/relationships/slideLayout" Target="../slideLayouts/slideLayout276.xml"/><Relationship Id="rId424" Type="http://schemas.openxmlformats.org/officeDocument/2006/relationships/slideLayout" Target="../slideLayouts/slideLayout441.xml"/><Relationship Id="rId466" Type="http://schemas.openxmlformats.org/officeDocument/2006/relationships/slideLayout" Target="../slideLayouts/slideLayout483.xml"/><Relationship Id="rId23" Type="http://schemas.openxmlformats.org/officeDocument/2006/relationships/slideLayout" Target="../slideLayouts/slideLayout40.xml"/><Relationship Id="rId119" Type="http://schemas.openxmlformats.org/officeDocument/2006/relationships/slideLayout" Target="../slideLayouts/slideLayout136.xml"/><Relationship Id="rId270" Type="http://schemas.openxmlformats.org/officeDocument/2006/relationships/slideLayout" Target="../slideLayouts/slideLayout287.xml"/><Relationship Id="rId326" Type="http://schemas.openxmlformats.org/officeDocument/2006/relationships/slideLayout" Target="../slideLayouts/slideLayout343.xml"/><Relationship Id="rId533" Type="http://schemas.openxmlformats.org/officeDocument/2006/relationships/slideLayout" Target="../slideLayouts/slideLayout550.xml"/><Relationship Id="rId65" Type="http://schemas.openxmlformats.org/officeDocument/2006/relationships/slideLayout" Target="../slideLayouts/slideLayout82.xml"/><Relationship Id="rId130" Type="http://schemas.openxmlformats.org/officeDocument/2006/relationships/slideLayout" Target="../slideLayouts/slideLayout147.xml"/><Relationship Id="rId368" Type="http://schemas.openxmlformats.org/officeDocument/2006/relationships/slideLayout" Target="../slideLayouts/slideLayout385.xml"/><Relationship Id="rId172" Type="http://schemas.openxmlformats.org/officeDocument/2006/relationships/slideLayout" Target="../slideLayouts/slideLayout189.xml"/><Relationship Id="rId228" Type="http://schemas.openxmlformats.org/officeDocument/2006/relationships/slideLayout" Target="../slideLayouts/slideLayout245.xml"/><Relationship Id="rId435" Type="http://schemas.openxmlformats.org/officeDocument/2006/relationships/slideLayout" Target="../slideLayouts/slideLayout452.xml"/><Relationship Id="rId477" Type="http://schemas.openxmlformats.org/officeDocument/2006/relationships/slideLayout" Target="../slideLayouts/slideLayout494.xml"/><Relationship Id="rId281" Type="http://schemas.openxmlformats.org/officeDocument/2006/relationships/slideLayout" Target="../slideLayouts/slideLayout298.xml"/><Relationship Id="rId337" Type="http://schemas.openxmlformats.org/officeDocument/2006/relationships/slideLayout" Target="../slideLayouts/slideLayout354.xml"/><Relationship Id="rId502" Type="http://schemas.openxmlformats.org/officeDocument/2006/relationships/slideLayout" Target="../slideLayouts/slideLayout519.xml"/><Relationship Id="rId34" Type="http://schemas.openxmlformats.org/officeDocument/2006/relationships/slideLayout" Target="../slideLayouts/slideLayout51.xml"/><Relationship Id="rId76" Type="http://schemas.openxmlformats.org/officeDocument/2006/relationships/slideLayout" Target="../slideLayouts/slideLayout93.xml"/><Relationship Id="rId141" Type="http://schemas.openxmlformats.org/officeDocument/2006/relationships/slideLayout" Target="../slideLayouts/slideLayout158.xml"/><Relationship Id="rId379" Type="http://schemas.openxmlformats.org/officeDocument/2006/relationships/slideLayout" Target="../slideLayouts/slideLayout396.xml"/><Relationship Id="rId544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24.xml"/><Relationship Id="rId183" Type="http://schemas.openxmlformats.org/officeDocument/2006/relationships/slideLayout" Target="../slideLayouts/slideLayout200.xml"/><Relationship Id="rId239" Type="http://schemas.openxmlformats.org/officeDocument/2006/relationships/slideLayout" Target="../slideLayouts/slideLayout256.xml"/><Relationship Id="rId390" Type="http://schemas.openxmlformats.org/officeDocument/2006/relationships/slideLayout" Target="../slideLayouts/slideLayout407.xml"/><Relationship Id="rId404" Type="http://schemas.openxmlformats.org/officeDocument/2006/relationships/slideLayout" Target="../slideLayouts/slideLayout421.xml"/><Relationship Id="rId446" Type="http://schemas.openxmlformats.org/officeDocument/2006/relationships/slideLayout" Target="../slideLayouts/slideLayout463.xml"/><Relationship Id="rId250" Type="http://schemas.openxmlformats.org/officeDocument/2006/relationships/slideLayout" Target="../slideLayouts/slideLayout267.xml"/><Relationship Id="rId292" Type="http://schemas.openxmlformats.org/officeDocument/2006/relationships/slideLayout" Target="../slideLayouts/slideLayout309.xml"/><Relationship Id="rId306" Type="http://schemas.openxmlformats.org/officeDocument/2006/relationships/slideLayout" Target="../slideLayouts/slideLayout323.xml"/><Relationship Id="rId488" Type="http://schemas.openxmlformats.org/officeDocument/2006/relationships/slideLayout" Target="../slideLayouts/slideLayout505.xml"/><Relationship Id="rId45" Type="http://schemas.openxmlformats.org/officeDocument/2006/relationships/slideLayout" Target="../slideLayouts/slideLayout62.xml"/><Relationship Id="rId87" Type="http://schemas.openxmlformats.org/officeDocument/2006/relationships/slideLayout" Target="../slideLayouts/slideLayout104.xml"/><Relationship Id="rId110" Type="http://schemas.openxmlformats.org/officeDocument/2006/relationships/slideLayout" Target="../slideLayouts/slideLayout127.xml"/><Relationship Id="rId348" Type="http://schemas.openxmlformats.org/officeDocument/2006/relationships/slideLayout" Target="../slideLayouts/slideLayout365.xml"/><Relationship Id="rId513" Type="http://schemas.openxmlformats.org/officeDocument/2006/relationships/slideLayout" Target="../slideLayouts/slideLayout530.xml"/><Relationship Id="rId152" Type="http://schemas.openxmlformats.org/officeDocument/2006/relationships/slideLayout" Target="../slideLayouts/slideLayout169.xml"/><Relationship Id="rId194" Type="http://schemas.openxmlformats.org/officeDocument/2006/relationships/slideLayout" Target="../slideLayouts/slideLayout211.xml"/><Relationship Id="rId208" Type="http://schemas.openxmlformats.org/officeDocument/2006/relationships/slideLayout" Target="../slideLayouts/slideLayout225.xml"/><Relationship Id="rId415" Type="http://schemas.openxmlformats.org/officeDocument/2006/relationships/slideLayout" Target="../slideLayouts/slideLayout432.xml"/><Relationship Id="rId457" Type="http://schemas.openxmlformats.org/officeDocument/2006/relationships/slideLayout" Target="../slideLayouts/slideLayout474.xml"/><Relationship Id="rId261" Type="http://schemas.openxmlformats.org/officeDocument/2006/relationships/slideLayout" Target="../slideLayouts/slideLayout278.xml"/><Relationship Id="rId499" Type="http://schemas.openxmlformats.org/officeDocument/2006/relationships/slideLayout" Target="../slideLayouts/slideLayout516.xml"/><Relationship Id="rId14" Type="http://schemas.openxmlformats.org/officeDocument/2006/relationships/slideLayout" Target="../slideLayouts/slideLayout31.xml"/><Relationship Id="rId56" Type="http://schemas.openxmlformats.org/officeDocument/2006/relationships/slideLayout" Target="../slideLayouts/slideLayout73.xml"/><Relationship Id="rId317" Type="http://schemas.openxmlformats.org/officeDocument/2006/relationships/slideLayout" Target="../slideLayouts/slideLayout334.xml"/><Relationship Id="rId359" Type="http://schemas.openxmlformats.org/officeDocument/2006/relationships/slideLayout" Target="../slideLayouts/slideLayout376.xml"/><Relationship Id="rId524" Type="http://schemas.openxmlformats.org/officeDocument/2006/relationships/slideLayout" Target="../slideLayouts/slideLayout541.xml"/><Relationship Id="rId98" Type="http://schemas.openxmlformats.org/officeDocument/2006/relationships/slideLayout" Target="../slideLayouts/slideLayout115.xml"/><Relationship Id="rId121" Type="http://schemas.openxmlformats.org/officeDocument/2006/relationships/slideLayout" Target="../slideLayouts/slideLayout138.xml"/><Relationship Id="rId163" Type="http://schemas.openxmlformats.org/officeDocument/2006/relationships/slideLayout" Target="../slideLayouts/slideLayout180.xml"/><Relationship Id="rId219" Type="http://schemas.openxmlformats.org/officeDocument/2006/relationships/slideLayout" Target="../slideLayouts/slideLayout236.xml"/><Relationship Id="rId370" Type="http://schemas.openxmlformats.org/officeDocument/2006/relationships/slideLayout" Target="../slideLayouts/slideLayout387.xml"/><Relationship Id="rId426" Type="http://schemas.openxmlformats.org/officeDocument/2006/relationships/slideLayout" Target="../slideLayouts/slideLayout443.xml"/><Relationship Id="rId230" Type="http://schemas.openxmlformats.org/officeDocument/2006/relationships/slideLayout" Target="../slideLayouts/slideLayout247.xml"/><Relationship Id="rId468" Type="http://schemas.openxmlformats.org/officeDocument/2006/relationships/slideLayout" Target="../slideLayouts/slideLayout485.xml"/><Relationship Id="rId25" Type="http://schemas.openxmlformats.org/officeDocument/2006/relationships/slideLayout" Target="../slideLayouts/slideLayout42.xml"/><Relationship Id="rId67" Type="http://schemas.openxmlformats.org/officeDocument/2006/relationships/slideLayout" Target="../slideLayouts/slideLayout84.xml"/><Relationship Id="rId272" Type="http://schemas.openxmlformats.org/officeDocument/2006/relationships/slideLayout" Target="../slideLayouts/slideLayout289.xml"/><Relationship Id="rId328" Type="http://schemas.openxmlformats.org/officeDocument/2006/relationships/slideLayout" Target="../slideLayouts/slideLayout345.xml"/><Relationship Id="rId535" Type="http://schemas.openxmlformats.org/officeDocument/2006/relationships/slideLayout" Target="../slideLayouts/slideLayout552.xml"/><Relationship Id="rId132" Type="http://schemas.openxmlformats.org/officeDocument/2006/relationships/slideLayout" Target="../slideLayouts/slideLayout149.xml"/><Relationship Id="rId174" Type="http://schemas.openxmlformats.org/officeDocument/2006/relationships/slideLayout" Target="../slideLayouts/slideLayout191.xml"/><Relationship Id="rId381" Type="http://schemas.openxmlformats.org/officeDocument/2006/relationships/slideLayout" Target="../slideLayouts/slideLayout398.xml"/><Relationship Id="rId241" Type="http://schemas.openxmlformats.org/officeDocument/2006/relationships/slideLayout" Target="../slideLayouts/slideLayout258.xml"/><Relationship Id="rId437" Type="http://schemas.openxmlformats.org/officeDocument/2006/relationships/slideLayout" Target="../slideLayouts/slideLayout454.xml"/><Relationship Id="rId479" Type="http://schemas.openxmlformats.org/officeDocument/2006/relationships/slideLayout" Target="../slideLayouts/slideLayout496.xml"/><Relationship Id="rId36" Type="http://schemas.openxmlformats.org/officeDocument/2006/relationships/slideLayout" Target="../slideLayouts/slideLayout53.xml"/><Relationship Id="rId283" Type="http://schemas.openxmlformats.org/officeDocument/2006/relationships/slideLayout" Target="../slideLayouts/slideLayout300.xml"/><Relationship Id="rId339" Type="http://schemas.openxmlformats.org/officeDocument/2006/relationships/slideLayout" Target="../slideLayouts/slideLayout356.xml"/><Relationship Id="rId490" Type="http://schemas.openxmlformats.org/officeDocument/2006/relationships/slideLayout" Target="../slideLayouts/slideLayout507.xml"/><Relationship Id="rId504" Type="http://schemas.openxmlformats.org/officeDocument/2006/relationships/slideLayout" Target="../slideLayouts/slideLayout521.xml"/><Relationship Id="rId546" Type="http://schemas.openxmlformats.org/officeDocument/2006/relationships/slideLayout" Target="../slideLayouts/slideLayout563.xml"/><Relationship Id="rId78" Type="http://schemas.openxmlformats.org/officeDocument/2006/relationships/slideLayout" Target="../slideLayouts/slideLayout95.xml"/><Relationship Id="rId101" Type="http://schemas.openxmlformats.org/officeDocument/2006/relationships/slideLayout" Target="../slideLayouts/slideLayout118.xml"/><Relationship Id="rId143" Type="http://schemas.openxmlformats.org/officeDocument/2006/relationships/slideLayout" Target="../slideLayouts/slideLayout160.xml"/><Relationship Id="rId185" Type="http://schemas.openxmlformats.org/officeDocument/2006/relationships/slideLayout" Target="../slideLayouts/slideLayout202.xml"/><Relationship Id="rId350" Type="http://schemas.openxmlformats.org/officeDocument/2006/relationships/slideLayout" Target="../slideLayouts/slideLayout367.xml"/><Relationship Id="rId406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26.xml"/><Relationship Id="rId210" Type="http://schemas.openxmlformats.org/officeDocument/2006/relationships/slideLayout" Target="../slideLayouts/slideLayout227.xml"/><Relationship Id="rId392" Type="http://schemas.openxmlformats.org/officeDocument/2006/relationships/slideLayout" Target="../slideLayouts/slideLayout409.xml"/><Relationship Id="rId448" Type="http://schemas.openxmlformats.org/officeDocument/2006/relationships/slideLayout" Target="../slideLayouts/slideLayout465.xml"/><Relationship Id="rId252" Type="http://schemas.openxmlformats.org/officeDocument/2006/relationships/slideLayout" Target="../slideLayouts/slideLayout269.xml"/><Relationship Id="rId294" Type="http://schemas.openxmlformats.org/officeDocument/2006/relationships/slideLayout" Target="../slideLayouts/slideLayout311.xml"/><Relationship Id="rId308" Type="http://schemas.openxmlformats.org/officeDocument/2006/relationships/slideLayout" Target="../slideLayouts/slideLayout325.xml"/><Relationship Id="rId515" Type="http://schemas.openxmlformats.org/officeDocument/2006/relationships/slideLayout" Target="../slideLayouts/slideLayout532.xml"/><Relationship Id="rId47" Type="http://schemas.openxmlformats.org/officeDocument/2006/relationships/slideLayout" Target="../slideLayouts/slideLayout64.xml"/><Relationship Id="rId89" Type="http://schemas.openxmlformats.org/officeDocument/2006/relationships/slideLayout" Target="../slideLayouts/slideLayout106.xml"/><Relationship Id="rId112" Type="http://schemas.openxmlformats.org/officeDocument/2006/relationships/slideLayout" Target="../slideLayouts/slideLayout129.xml"/><Relationship Id="rId154" Type="http://schemas.openxmlformats.org/officeDocument/2006/relationships/slideLayout" Target="../slideLayouts/slideLayout171.xml"/><Relationship Id="rId361" Type="http://schemas.openxmlformats.org/officeDocument/2006/relationships/slideLayout" Target="../slideLayouts/slideLayout378.xml"/><Relationship Id="rId196" Type="http://schemas.openxmlformats.org/officeDocument/2006/relationships/slideLayout" Target="../slideLayouts/slideLayout213.xml"/><Relationship Id="rId417" Type="http://schemas.openxmlformats.org/officeDocument/2006/relationships/slideLayout" Target="../slideLayouts/slideLayout434.xml"/><Relationship Id="rId459" Type="http://schemas.openxmlformats.org/officeDocument/2006/relationships/slideLayout" Target="../slideLayouts/slideLayout476.xml"/><Relationship Id="rId16" Type="http://schemas.openxmlformats.org/officeDocument/2006/relationships/slideLayout" Target="../slideLayouts/slideLayout33.xml"/><Relationship Id="rId221" Type="http://schemas.openxmlformats.org/officeDocument/2006/relationships/slideLayout" Target="../slideLayouts/slideLayout238.xml"/><Relationship Id="rId263" Type="http://schemas.openxmlformats.org/officeDocument/2006/relationships/slideLayout" Target="../slideLayouts/slideLayout280.xml"/><Relationship Id="rId319" Type="http://schemas.openxmlformats.org/officeDocument/2006/relationships/slideLayout" Target="../slideLayouts/slideLayout336.xml"/><Relationship Id="rId470" Type="http://schemas.openxmlformats.org/officeDocument/2006/relationships/slideLayout" Target="../slideLayouts/slideLayout487.xml"/><Relationship Id="rId526" Type="http://schemas.openxmlformats.org/officeDocument/2006/relationships/slideLayout" Target="../slideLayouts/slideLayout543.xml"/><Relationship Id="rId58" Type="http://schemas.openxmlformats.org/officeDocument/2006/relationships/slideLayout" Target="../slideLayouts/slideLayout75.xml"/><Relationship Id="rId123" Type="http://schemas.openxmlformats.org/officeDocument/2006/relationships/slideLayout" Target="../slideLayouts/slideLayout140.xml"/><Relationship Id="rId330" Type="http://schemas.openxmlformats.org/officeDocument/2006/relationships/slideLayout" Target="../slideLayouts/slideLayout347.xml"/><Relationship Id="rId165" Type="http://schemas.openxmlformats.org/officeDocument/2006/relationships/slideLayout" Target="../slideLayouts/slideLayout182.xml"/><Relationship Id="rId372" Type="http://schemas.openxmlformats.org/officeDocument/2006/relationships/slideLayout" Target="../slideLayouts/slideLayout389.xml"/><Relationship Id="rId428" Type="http://schemas.openxmlformats.org/officeDocument/2006/relationships/slideLayout" Target="../slideLayouts/slideLayout445.xml"/><Relationship Id="rId232" Type="http://schemas.openxmlformats.org/officeDocument/2006/relationships/slideLayout" Target="../slideLayouts/slideLayout249.xml"/><Relationship Id="rId274" Type="http://schemas.openxmlformats.org/officeDocument/2006/relationships/slideLayout" Target="../slideLayouts/slideLayout291.xml"/><Relationship Id="rId481" Type="http://schemas.openxmlformats.org/officeDocument/2006/relationships/slideLayout" Target="../slideLayouts/slideLayout498.xml"/><Relationship Id="rId27" Type="http://schemas.openxmlformats.org/officeDocument/2006/relationships/slideLayout" Target="../slideLayouts/slideLayout44.xml"/><Relationship Id="rId69" Type="http://schemas.openxmlformats.org/officeDocument/2006/relationships/slideLayout" Target="../slideLayouts/slideLayout86.xml"/><Relationship Id="rId134" Type="http://schemas.openxmlformats.org/officeDocument/2006/relationships/slideLayout" Target="../slideLayouts/slideLayout151.xml"/><Relationship Id="rId537" Type="http://schemas.openxmlformats.org/officeDocument/2006/relationships/slideLayout" Target="../slideLayouts/slideLayout554.xml"/><Relationship Id="rId80" Type="http://schemas.openxmlformats.org/officeDocument/2006/relationships/slideLayout" Target="../slideLayouts/slideLayout97.xml"/><Relationship Id="rId176" Type="http://schemas.openxmlformats.org/officeDocument/2006/relationships/slideLayout" Target="../slideLayouts/slideLayout193.xml"/><Relationship Id="rId341" Type="http://schemas.openxmlformats.org/officeDocument/2006/relationships/slideLayout" Target="../slideLayouts/slideLayout358.xml"/><Relationship Id="rId383" Type="http://schemas.openxmlformats.org/officeDocument/2006/relationships/slideLayout" Target="../slideLayouts/slideLayout400.xml"/><Relationship Id="rId439" Type="http://schemas.openxmlformats.org/officeDocument/2006/relationships/slideLayout" Target="../slideLayouts/slideLayout456.xml"/><Relationship Id="rId201" Type="http://schemas.openxmlformats.org/officeDocument/2006/relationships/slideLayout" Target="../slideLayouts/slideLayout218.xml"/><Relationship Id="rId243" Type="http://schemas.openxmlformats.org/officeDocument/2006/relationships/slideLayout" Target="../slideLayouts/slideLayout260.xml"/><Relationship Id="rId285" Type="http://schemas.openxmlformats.org/officeDocument/2006/relationships/slideLayout" Target="../slideLayouts/slideLayout302.xml"/><Relationship Id="rId450" Type="http://schemas.openxmlformats.org/officeDocument/2006/relationships/slideLayout" Target="../slideLayouts/slideLayout467.xml"/><Relationship Id="rId506" Type="http://schemas.openxmlformats.org/officeDocument/2006/relationships/slideLayout" Target="../slideLayouts/slideLayout523.xml"/><Relationship Id="rId38" Type="http://schemas.openxmlformats.org/officeDocument/2006/relationships/slideLayout" Target="../slideLayouts/slideLayout55.xml"/><Relationship Id="rId103" Type="http://schemas.openxmlformats.org/officeDocument/2006/relationships/slideLayout" Target="../slideLayouts/slideLayout120.xml"/><Relationship Id="rId310" Type="http://schemas.openxmlformats.org/officeDocument/2006/relationships/slideLayout" Target="../slideLayouts/slideLayout327.xml"/><Relationship Id="rId492" Type="http://schemas.openxmlformats.org/officeDocument/2006/relationships/slideLayout" Target="../slideLayouts/slideLayout509.xml"/><Relationship Id="rId548" Type="http://schemas.openxmlformats.org/officeDocument/2006/relationships/slideLayout" Target="../slideLayouts/slideLayout565.xml"/><Relationship Id="rId91" Type="http://schemas.openxmlformats.org/officeDocument/2006/relationships/slideLayout" Target="../slideLayouts/slideLayout108.xml"/><Relationship Id="rId145" Type="http://schemas.openxmlformats.org/officeDocument/2006/relationships/slideLayout" Target="../slideLayouts/slideLayout162.xml"/><Relationship Id="rId187" Type="http://schemas.openxmlformats.org/officeDocument/2006/relationships/slideLayout" Target="../slideLayouts/slideLayout204.xml"/><Relationship Id="rId352" Type="http://schemas.openxmlformats.org/officeDocument/2006/relationships/slideLayout" Target="../slideLayouts/slideLayout369.xml"/><Relationship Id="rId394" Type="http://schemas.openxmlformats.org/officeDocument/2006/relationships/slideLayout" Target="../slideLayouts/slideLayout411.xml"/><Relationship Id="rId408" Type="http://schemas.openxmlformats.org/officeDocument/2006/relationships/slideLayout" Target="../slideLayouts/slideLayout425.xml"/><Relationship Id="rId212" Type="http://schemas.openxmlformats.org/officeDocument/2006/relationships/slideLayout" Target="../slideLayouts/slideLayout229.xml"/><Relationship Id="rId254" Type="http://schemas.openxmlformats.org/officeDocument/2006/relationships/slideLayout" Target="../slideLayouts/slideLayout271.xml"/><Relationship Id="rId49" Type="http://schemas.openxmlformats.org/officeDocument/2006/relationships/slideLayout" Target="../slideLayouts/slideLayout66.xml"/><Relationship Id="rId114" Type="http://schemas.openxmlformats.org/officeDocument/2006/relationships/slideLayout" Target="../slideLayouts/slideLayout131.xml"/><Relationship Id="rId296" Type="http://schemas.openxmlformats.org/officeDocument/2006/relationships/slideLayout" Target="../slideLayouts/slideLayout313.xml"/><Relationship Id="rId461" Type="http://schemas.openxmlformats.org/officeDocument/2006/relationships/slideLayout" Target="../slideLayouts/slideLayout478.xml"/><Relationship Id="rId517" Type="http://schemas.openxmlformats.org/officeDocument/2006/relationships/slideLayout" Target="../slideLayouts/slideLayout534.xml"/><Relationship Id="rId60" Type="http://schemas.openxmlformats.org/officeDocument/2006/relationships/slideLayout" Target="../slideLayouts/slideLayout77.xml"/><Relationship Id="rId156" Type="http://schemas.openxmlformats.org/officeDocument/2006/relationships/slideLayout" Target="../slideLayouts/slideLayout173.xml"/><Relationship Id="rId198" Type="http://schemas.openxmlformats.org/officeDocument/2006/relationships/slideLayout" Target="../slideLayouts/slideLayout215.xml"/><Relationship Id="rId321" Type="http://schemas.openxmlformats.org/officeDocument/2006/relationships/slideLayout" Target="../slideLayouts/slideLayout338.xml"/><Relationship Id="rId363" Type="http://schemas.openxmlformats.org/officeDocument/2006/relationships/slideLayout" Target="../slideLayouts/slideLayout380.xml"/><Relationship Id="rId419" Type="http://schemas.openxmlformats.org/officeDocument/2006/relationships/slideLayout" Target="../slideLayouts/slideLayout436.xml"/><Relationship Id="rId223" Type="http://schemas.openxmlformats.org/officeDocument/2006/relationships/slideLayout" Target="../slideLayouts/slideLayout240.xml"/><Relationship Id="rId430" Type="http://schemas.openxmlformats.org/officeDocument/2006/relationships/slideLayout" Target="../slideLayouts/slideLayout447.xml"/><Relationship Id="rId18" Type="http://schemas.openxmlformats.org/officeDocument/2006/relationships/slideLayout" Target="../slideLayouts/slideLayout35.xml"/><Relationship Id="rId265" Type="http://schemas.openxmlformats.org/officeDocument/2006/relationships/slideLayout" Target="../slideLayouts/slideLayout282.xml"/><Relationship Id="rId472" Type="http://schemas.openxmlformats.org/officeDocument/2006/relationships/slideLayout" Target="../slideLayouts/slideLayout489.xml"/><Relationship Id="rId528" Type="http://schemas.openxmlformats.org/officeDocument/2006/relationships/slideLayout" Target="../slideLayouts/slideLayout545.xml"/><Relationship Id="rId125" Type="http://schemas.openxmlformats.org/officeDocument/2006/relationships/slideLayout" Target="../slideLayouts/slideLayout142.xml"/><Relationship Id="rId167" Type="http://schemas.openxmlformats.org/officeDocument/2006/relationships/slideLayout" Target="../slideLayouts/slideLayout184.xml"/><Relationship Id="rId332" Type="http://schemas.openxmlformats.org/officeDocument/2006/relationships/slideLayout" Target="../slideLayouts/slideLayout349.xml"/><Relationship Id="rId374" Type="http://schemas.openxmlformats.org/officeDocument/2006/relationships/slideLayout" Target="../slideLayouts/slideLayout391.xml"/><Relationship Id="rId71" Type="http://schemas.openxmlformats.org/officeDocument/2006/relationships/slideLayout" Target="../slideLayouts/slideLayout88.xml"/><Relationship Id="rId234" Type="http://schemas.openxmlformats.org/officeDocument/2006/relationships/slideLayout" Target="../slideLayouts/slideLayout251.xml"/><Relationship Id="rId2" Type="http://schemas.openxmlformats.org/officeDocument/2006/relationships/slideLayout" Target="../slideLayouts/slideLayout19.xml"/><Relationship Id="rId29" Type="http://schemas.openxmlformats.org/officeDocument/2006/relationships/slideLayout" Target="../slideLayouts/slideLayout46.xml"/><Relationship Id="rId276" Type="http://schemas.openxmlformats.org/officeDocument/2006/relationships/slideLayout" Target="../slideLayouts/slideLayout293.xml"/><Relationship Id="rId441" Type="http://schemas.openxmlformats.org/officeDocument/2006/relationships/slideLayout" Target="../slideLayouts/slideLayout458.xml"/><Relationship Id="rId483" Type="http://schemas.openxmlformats.org/officeDocument/2006/relationships/slideLayout" Target="../slideLayouts/slideLayout500.xml"/><Relationship Id="rId539" Type="http://schemas.openxmlformats.org/officeDocument/2006/relationships/slideLayout" Target="../slideLayouts/slideLayout556.xml"/><Relationship Id="rId40" Type="http://schemas.openxmlformats.org/officeDocument/2006/relationships/slideLayout" Target="../slideLayouts/slideLayout57.xml"/><Relationship Id="rId136" Type="http://schemas.openxmlformats.org/officeDocument/2006/relationships/slideLayout" Target="../slideLayouts/slideLayout153.xml"/><Relationship Id="rId178" Type="http://schemas.openxmlformats.org/officeDocument/2006/relationships/slideLayout" Target="../slideLayouts/slideLayout195.xml"/><Relationship Id="rId301" Type="http://schemas.openxmlformats.org/officeDocument/2006/relationships/slideLayout" Target="../slideLayouts/slideLayout318.xml"/><Relationship Id="rId343" Type="http://schemas.openxmlformats.org/officeDocument/2006/relationships/slideLayout" Target="../slideLayouts/slideLayout360.xml"/><Relationship Id="rId550" Type="http://schemas.openxmlformats.org/officeDocument/2006/relationships/slideLayout" Target="../slideLayouts/slideLayout567.xml"/><Relationship Id="rId82" Type="http://schemas.openxmlformats.org/officeDocument/2006/relationships/slideLayout" Target="../slideLayouts/slideLayout99.xml"/><Relationship Id="rId203" Type="http://schemas.openxmlformats.org/officeDocument/2006/relationships/slideLayout" Target="../slideLayouts/slideLayout220.xml"/><Relationship Id="rId385" Type="http://schemas.openxmlformats.org/officeDocument/2006/relationships/slideLayout" Target="../slideLayouts/slideLayout402.xml"/><Relationship Id="rId245" Type="http://schemas.openxmlformats.org/officeDocument/2006/relationships/slideLayout" Target="../slideLayouts/slideLayout262.xml"/><Relationship Id="rId287" Type="http://schemas.openxmlformats.org/officeDocument/2006/relationships/slideLayout" Target="../slideLayouts/slideLayout304.xml"/><Relationship Id="rId410" Type="http://schemas.openxmlformats.org/officeDocument/2006/relationships/slideLayout" Target="../slideLayouts/slideLayout427.xml"/><Relationship Id="rId452" Type="http://schemas.openxmlformats.org/officeDocument/2006/relationships/slideLayout" Target="../slideLayouts/slideLayout469.xml"/><Relationship Id="rId494" Type="http://schemas.openxmlformats.org/officeDocument/2006/relationships/slideLayout" Target="../slideLayouts/slideLayout511.xml"/><Relationship Id="rId508" Type="http://schemas.openxmlformats.org/officeDocument/2006/relationships/slideLayout" Target="../slideLayouts/slideLayout525.xml"/><Relationship Id="rId105" Type="http://schemas.openxmlformats.org/officeDocument/2006/relationships/slideLayout" Target="../slideLayouts/slideLayout122.xml"/><Relationship Id="rId147" Type="http://schemas.openxmlformats.org/officeDocument/2006/relationships/slideLayout" Target="../slideLayouts/slideLayout164.xml"/><Relationship Id="rId312" Type="http://schemas.openxmlformats.org/officeDocument/2006/relationships/slideLayout" Target="../slideLayouts/slideLayout329.xml"/><Relationship Id="rId354" Type="http://schemas.openxmlformats.org/officeDocument/2006/relationships/slideLayout" Target="../slideLayouts/slideLayout371.xml"/><Relationship Id="rId51" Type="http://schemas.openxmlformats.org/officeDocument/2006/relationships/slideLayout" Target="../slideLayouts/slideLayout68.xml"/><Relationship Id="rId93" Type="http://schemas.openxmlformats.org/officeDocument/2006/relationships/slideLayout" Target="../slideLayouts/slideLayout110.xml"/><Relationship Id="rId189" Type="http://schemas.openxmlformats.org/officeDocument/2006/relationships/slideLayout" Target="../slideLayouts/slideLayout206.xml"/><Relationship Id="rId396" Type="http://schemas.openxmlformats.org/officeDocument/2006/relationships/slideLayout" Target="../slideLayouts/slideLayout413.xml"/><Relationship Id="rId214" Type="http://schemas.openxmlformats.org/officeDocument/2006/relationships/slideLayout" Target="../slideLayouts/slideLayout231.xml"/><Relationship Id="rId256" Type="http://schemas.openxmlformats.org/officeDocument/2006/relationships/slideLayout" Target="../slideLayouts/slideLayout273.xml"/><Relationship Id="rId298" Type="http://schemas.openxmlformats.org/officeDocument/2006/relationships/slideLayout" Target="../slideLayouts/slideLayout315.xml"/><Relationship Id="rId421" Type="http://schemas.openxmlformats.org/officeDocument/2006/relationships/slideLayout" Target="../slideLayouts/slideLayout438.xml"/><Relationship Id="rId463" Type="http://schemas.openxmlformats.org/officeDocument/2006/relationships/slideLayout" Target="../slideLayouts/slideLayout480.xml"/><Relationship Id="rId519" Type="http://schemas.openxmlformats.org/officeDocument/2006/relationships/slideLayout" Target="../slideLayouts/slideLayout536.xml"/><Relationship Id="rId116" Type="http://schemas.openxmlformats.org/officeDocument/2006/relationships/slideLayout" Target="../slideLayouts/slideLayout133.xml"/><Relationship Id="rId158" Type="http://schemas.openxmlformats.org/officeDocument/2006/relationships/slideLayout" Target="../slideLayouts/slideLayout175.xml"/><Relationship Id="rId323" Type="http://schemas.openxmlformats.org/officeDocument/2006/relationships/slideLayout" Target="../slideLayouts/slideLayout340.xml"/><Relationship Id="rId530" Type="http://schemas.openxmlformats.org/officeDocument/2006/relationships/slideLayout" Target="../slideLayouts/slideLayout547.xml"/><Relationship Id="rId20" Type="http://schemas.openxmlformats.org/officeDocument/2006/relationships/slideLayout" Target="../slideLayouts/slideLayout37.xml"/><Relationship Id="rId62" Type="http://schemas.openxmlformats.org/officeDocument/2006/relationships/slideLayout" Target="../slideLayouts/slideLayout79.xml"/><Relationship Id="rId365" Type="http://schemas.openxmlformats.org/officeDocument/2006/relationships/slideLayout" Target="../slideLayouts/slideLayout382.xml"/><Relationship Id="rId225" Type="http://schemas.openxmlformats.org/officeDocument/2006/relationships/slideLayout" Target="../slideLayouts/slideLayout242.xml"/><Relationship Id="rId267" Type="http://schemas.openxmlformats.org/officeDocument/2006/relationships/slideLayout" Target="../slideLayouts/slideLayout284.xml"/><Relationship Id="rId432" Type="http://schemas.openxmlformats.org/officeDocument/2006/relationships/slideLayout" Target="../slideLayouts/slideLayout449.xml"/><Relationship Id="rId474" Type="http://schemas.openxmlformats.org/officeDocument/2006/relationships/slideLayout" Target="../slideLayouts/slideLayout491.xml"/><Relationship Id="rId127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48.xml"/><Relationship Id="rId73" Type="http://schemas.openxmlformats.org/officeDocument/2006/relationships/slideLayout" Target="../slideLayouts/slideLayout90.xml"/><Relationship Id="rId169" Type="http://schemas.openxmlformats.org/officeDocument/2006/relationships/slideLayout" Target="../slideLayouts/slideLayout186.xml"/><Relationship Id="rId334" Type="http://schemas.openxmlformats.org/officeDocument/2006/relationships/slideLayout" Target="../slideLayouts/slideLayout351.xml"/><Relationship Id="rId376" Type="http://schemas.openxmlformats.org/officeDocument/2006/relationships/slideLayout" Target="../slideLayouts/slideLayout393.xml"/><Relationship Id="rId541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21.xml"/><Relationship Id="rId180" Type="http://schemas.openxmlformats.org/officeDocument/2006/relationships/slideLayout" Target="../slideLayouts/slideLayout197.xml"/><Relationship Id="rId236" Type="http://schemas.openxmlformats.org/officeDocument/2006/relationships/slideLayout" Target="../slideLayouts/slideLayout253.xml"/><Relationship Id="rId278" Type="http://schemas.openxmlformats.org/officeDocument/2006/relationships/slideLayout" Target="../slideLayouts/slideLayout295.xml"/><Relationship Id="rId401" Type="http://schemas.openxmlformats.org/officeDocument/2006/relationships/slideLayout" Target="../slideLayouts/slideLayout418.xml"/><Relationship Id="rId443" Type="http://schemas.openxmlformats.org/officeDocument/2006/relationships/slideLayout" Target="../slideLayouts/slideLayout460.xml"/><Relationship Id="rId303" Type="http://schemas.openxmlformats.org/officeDocument/2006/relationships/slideLayout" Target="../slideLayouts/slideLayout320.xml"/><Relationship Id="rId485" Type="http://schemas.openxmlformats.org/officeDocument/2006/relationships/slideLayout" Target="../slideLayouts/slideLayout502.xml"/><Relationship Id="rId42" Type="http://schemas.openxmlformats.org/officeDocument/2006/relationships/slideLayout" Target="../slideLayouts/slideLayout59.xml"/><Relationship Id="rId84" Type="http://schemas.openxmlformats.org/officeDocument/2006/relationships/slideLayout" Target="../slideLayouts/slideLayout101.xml"/><Relationship Id="rId138" Type="http://schemas.openxmlformats.org/officeDocument/2006/relationships/slideLayout" Target="../slideLayouts/slideLayout155.xml"/><Relationship Id="rId345" Type="http://schemas.openxmlformats.org/officeDocument/2006/relationships/slideLayout" Target="../slideLayouts/slideLayout362.xml"/><Relationship Id="rId387" Type="http://schemas.openxmlformats.org/officeDocument/2006/relationships/slideLayout" Target="../slideLayouts/slideLayout404.xml"/><Relationship Id="rId510" Type="http://schemas.openxmlformats.org/officeDocument/2006/relationships/slideLayout" Target="../slideLayouts/slideLayout527.xml"/><Relationship Id="rId552" Type="http://schemas.openxmlformats.org/officeDocument/2006/relationships/slideLayout" Target="../slideLayouts/slideLayout569.xml"/><Relationship Id="rId191" Type="http://schemas.openxmlformats.org/officeDocument/2006/relationships/slideLayout" Target="../slideLayouts/slideLayout208.xml"/><Relationship Id="rId205" Type="http://schemas.openxmlformats.org/officeDocument/2006/relationships/slideLayout" Target="../slideLayouts/slideLayout222.xml"/><Relationship Id="rId247" Type="http://schemas.openxmlformats.org/officeDocument/2006/relationships/slideLayout" Target="../slideLayouts/slideLayout264.xml"/><Relationship Id="rId412" Type="http://schemas.openxmlformats.org/officeDocument/2006/relationships/slideLayout" Target="../slideLayouts/slideLayout429.xml"/><Relationship Id="rId107" Type="http://schemas.openxmlformats.org/officeDocument/2006/relationships/slideLayout" Target="../slideLayouts/slideLayout124.xml"/><Relationship Id="rId289" Type="http://schemas.openxmlformats.org/officeDocument/2006/relationships/slideLayout" Target="../slideLayouts/slideLayout306.xml"/><Relationship Id="rId454" Type="http://schemas.openxmlformats.org/officeDocument/2006/relationships/slideLayout" Target="../slideLayouts/slideLayout471.xml"/><Relationship Id="rId496" Type="http://schemas.openxmlformats.org/officeDocument/2006/relationships/slideLayout" Target="../slideLayouts/slideLayout513.xml"/><Relationship Id="rId11" Type="http://schemas.openxmlformats.org/officeDocument/2006/relationships/slideLayout" Target="../slideLayouts/slideLayout28.xml"/><Relationship Id="rId53" Type="http://schemas.openxmlformats.org/officeDocument/2006/relationships/slideLayout" Target="../slideLayouts/slideLayout70.xml"/><Relationship Id="rId149" Type="http://schemas.openxmlformats.org/officeDocument/2006/relationships/slideLayout" Target="../slideLayouts/slideLayout166.xml"/><Relationship Id="rId314" Type="http://schemas.openxmlformats.org/officeDocument/2006/relationships/slideLayout" Target="../slideLayouts/slideLayout331.xml"/><Relationship Id="rId356" Type="http://schemas.openxmlformats.org/officeDocument/2006/relationships/slideLayout" Target="../slideLayouts/slideLayout373.xml"/><Relationship Id="rId398" Type="http://schemas.openxmlformats.org/officeDocument/2006/relationships/slideLayout" Target="../slideLayouts/slideLayout415.xml"/><Relationship Id="rId521" Type="http://schemas.openxmlformats.org/officeDocument/2006/relationships/slideLayout" Target="../slideLayouts/slideLayout538.xml"/><Relationship Id="rId95" Type="http://schemas.openxmlformats.org/officeDocument/2006/relationships/slideLayout" Target="../slideLayouts/slideLayout112.xml"/><Relationship Id="rId160" Type="http://schemas.openxmlformats.org/officeDocument/2006/relationships/slideLayout" Target="../slideLayouts/slideLayout177.xml"/><Relationship Id="rId216" Type="http://schemas.openxmlformats.org/officeDocument/2006/relationships/slideLayout" Target="../slideLayouts/slideLayout233.xml"/><Relationship Id="rId423" Type="http://schemas.openxmlformats.org/officeDocument/2006/relationships/slideLayout" Target="../slideLayouts/slideLayout440.xml"/><Relationship Id="rId258" Type="http://schemas.openxmlformats.org/officeDocument/2006/relationships/slideLayout" Target="../slideLayouts/slideLayout275.xml"/><Relationship Id="rId465" Type="http://schemas.openxmlformats.org/officeDocument/2006/relationships/slideLayout" Target="../slideLayouts/slideLayout482.xml"/><Relationship Id="rId22" Type="http://schemas.openxmlformats.org/officeDocument/2006/relationships/slideLayout" Target="../slideLayouts/slideLayout39.xml"/><Relationship Id="rId64" Type="http://schemas.openxmlformats.org/officeDocument/2006/relationships/slideLayout" Target="../slideLayouts/slideLayout81.xml"/><Relationship Id="rId118" Type="http://schemas.openxmlformats.org/officeDocument/2006/relationships/slideLayout" Target="../slideLayouts/slideLayout135.xml"/><Relationship Id="rId325" Type="http://schemas.openxmlformats.org/officeDocument/2006/relationships/slideLayout" Target="../slideLayouts/slideLayout342.xml"/><Relationship Id="rId367" Type="http://schemas.openxmlformats.org/officeDocument/2006/relationships/slideLayout" Target="../slideLayouts/slideLayout384.xml"/><Relationship Id="rId532" Type="http://schemas.openxmlformats.org/officeDocument/2006/relationships/slideLayout" Target="../slideLayouts/slideLayout549.xml"/><Relationship Id="rId171" Type="http://schemas.openxmlformats.org/officeDocument/2006/relationships/slideLayout" Target="../slideLayouts/slideLayout188.xml"/><Relationship Id="rId227" Type="http://schemas.openxmlformats.org/officeDocument/2006/relationships/slideLayout" Target="../slideLayouts/slideLayout244.xml"/><Relationship Id="rId269" Type="http://schemas.openxmlformats.org/officeDocument/2006/relationships/slideLayout" Target="../slideLayouts/slideLayout286.xml"/><Relationship Id="rId434" Type="http://schemas.openxmlformats.org/officeDocument/2006/relationships/slideLayout" Target="../slideLayouts/slideLayout451.xml"/><Relationship Id="rId476" Type="http://schemas.openxmlformats.org/officeDocument/2006/relationships/slideLayout" Target="../slideLayouts/slideLayout493.xml"/><Relationship Id="rId33" Type="http://schemas.openxmlformats.org/officeDocument/2006/relationships/slideLayout" Target="../slideLayouts/slideLayout50.xml"/><Relationship Id="rId129" Type="http://schemas.openxmlformats.org/officeDocument/2006/relationships/slideLayout" Target="../slideLayouts/slideLayout146.xml"/><Relationship Id="rId280" Type="http://schemas.openxmlformats.org/officeDocument/2006/relationships/slideLayout" Target="../slideLayouts/slideLayout297.xml"/><Relationship Id="rId336" Type="http://schemas.openxmlformats.org/officeDocument/2006/relationships/slideLayout" Target="../slideLayouts/slideLayout353.xml"/><Relationship Id="rId501" Type="http://schemas.openxmlformats.org/officeDocument/2006/relationships/slideLayout" Target="../slideLayouts/slideLayout518.xml"/><Relationship Id="rId543" Type="http://schemas.openxmlformats.org/officeDocument/2006/relationships/slideLayout" Target="../slideLayouts/slideLayout560.xml"/><Relationship Id="rId75" Type="http://schemas.openxmlformats.org/officeDocument/2006/relationships/slideLayout" Target="../slideLayouts/slideLayout92.xml"/><Relationship Id="rId140" Type="http://schemas.openxmlformats.org/officeDocument/2006/relationships/slideLayout" Target="../slideLayouts/slideLayout157.xml"/><Relationship Id="rId182" Type="http://schemas.openxmlformats.org/officeDocument/2006/relationships/slideLayout" Target="../slideLayouts/slideLayout199.xml"/><Relationship Id="rId378" Type="http://schemas.openxmlformats.org/officeDocument/2006/relationships/slideLayout" Target="../slideLayouts/slideLayout395.xml"/><Relationship Id="rId403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23.xml"/><Relationship Id="rId238" Type="http://schemas.openxmlformats.org/officeDocument/2006/relationships/slideLayout" Target="../slideLayouts/slideLayout255.xml"/><Relationship Id="rId445" Type="http://schemas.openxmlformats.org/officeDocument/2006/relationships/slideLayout" Target="../slideLayouts/slideLayout462.xml"/><Relationship Id="rId487" Type="http://schemas.openxmlformats.org/officeDocument/2006/relationships/slideLayout" Target="../slideLayouts/slideLayout504.xml"/><Relationship Id="rId291" Type="http://schemas.openxmlformats.org/officeDocument/2006/relationships/slideLayout" Target="../slideLayouts/slideLayout308.xml"/><Relationship Id="rId305" Type="http://schemas.openxmlformats.org/officeDocument/2006/relationships/slideLayout" Target="../slideLayouts/slideLayout322.xml"/><Relationship Id="rId347" Type="http://schemas.openxmlformats.org/officeDocument/2006/relationships/slideLayout" Target="../slideLayouts/slideLayout364.xml"/><Relationship Id="rId512" Type="http://schemas.openxmlformats.org/officeDocument/2006/relationships/slideLayout" Target="../slideLayouts/slideLayout529.xml"/><Relationship Id="rId44" Type="http://schemas.openxmlformats.org/officeDocument/2006/relationships/slideLayout" Target="../slideLayouts/slideLayout61.xml"/><Relationship Id="rId86" Type="http://schemas.openxmlformats.org/officeDocument/2006/relationships/slideLayout" Target="../slideLayouts/slideLayout103.xml"/><Relationship Id="rId151" Type="http://schemas.openxmlformats.org/officeDocument/2006/relationships/slideLayout" Target="../slideLayouts/slideLayout168.xml"/><Relationship Id="rId389" Type="http://schemas.openxmlformats.org/officeDocument/2006/relationships/slideLayout" Target="../slideLayouts/slideLayout406.xml"/><Relationship Id="rId193" Type="http://schemas.openxmlformats.org/officeDocument/2006/relationships/slideLayout" Target="../slideLayouts/slideLayout210.xml"/><Relationship Id="rId207" Type="http://schemas.openxmlformats.org/officeDocument/2006/relationships/slideLayout" Target="../slideLayouts/slideLayout224.xml"/><Relationship Id="rId249" Type="http://schemas.openxmlformats.org/officeDocument/2006/relationships/slideLayout" Target="../slideLayouts/slideLayout266.xml"/><Relationship Id="rId414" Type="http://schemas.openxmlformats.org/officeDocument/2006/relationships/slideLayout" Target="../slideLayouts/slideLayout431.xml"/><Relationship Id="rId456" Type="http://schemas.openxmlformats.org/officeDocument/2006/relationships/slideLayout" Target="../slideLayouts/slideLayout473.xml"/><Relationship Id="rId498" Type="http://schemas.openxmlformats.org/officeDocument/2006/relationships/slideLayout" Target="../slideLayouts/slideLayout515.xml"/><Relationship Id="rId13" Type="http://schemas.openxmlformats.org/officeDocument/2006/relationships/slideLayout" Target="../slideLayouts/slideLayout30.xml"/><Relationship Id="rId109" Type="http://schemas.openxmlformats.org/officeDocument/2006/relationships/slideLayout" Target="../slideLayouts/slideLayout126.xml"/><Relationship Id="rId260" Type="http://schemas.openxmlformats.org/officeDocument/2006/relationships/slideLayout" Target="../slideLayouts/slideLayout277.xml"/><Relationship Id="rId316" Type="http://schemas.openxmlformats.org/officeDocument/2006/relationships/slideLayout" Target="../slideLayouts/slideLayout333.xml"/><Relationship Id="rId523" Type="http://schemas.openxmlformats.org/officeDocument/2006/relationships/slideLayout" Target="../slideLayouts/slideLayout540.xml"/><Relationship Id="rId55" Type="http://schemas.openxmlformats.org/officeDocument/2006/relationships/slideLayout" Target="../slideLayouts/slideLayout72.xml"/><Relationship Id="rId97" Type="http://schemas.openxmlformats.org/officeDocument/2006/relationships/slideLayout" Target="../slideLayouts/slideLayout114.xml"/><Relationship Id="rId120" Type="http://schemas.openxmlformats.org/officeDocument/2006/relationships/slideLayout" Target="../slideLayouts/slideLayout137.xml"/><Relationship Id="rId358" Type="http://schemas.openxmlformats.org/officeDocument/2006/relationships/slideLayout" Target="../slideLayouts/slideLayout375.xml"/><Relationship Id="rId162" Type="http://schemas.openxmlformats.org/officeDocument/2006/relationships/slideLayout" Target="../slideLayouts/slideLayout179.xml"/><Relationship Id="rId218" Type="http://schemas.openxmlformats.org/officeDocument/2006/relationships/slideLayout" Target="../slideLayouts/slideLayout235.xml"/><Relationship Id="rId425" Type="http://schemas.openxmlformats.org/officeDocument/2006/relationships/slideLayout" Target="../slideLayouts/slideLayout442.xml"/><Relationship Id="rId467" Type="http://schemas.openxmlformats.org/officeDocument/2006/relationships/slideLayout" Target="../slideLayouts/slideLayout484.xml"/><Relationship Id="rId271" Type="http://schemas.openxmlformats.org/officeDocument/2006/relationships/slideLayout" Target="../slideLayouts/slideLayout288.xml"/><Relationship Id="rId24" Type="http://schemas.openxmlformats.org/officeDocument/2006/relationships/slideLayout" Target="../slideLayouts/slideLayout41.xml"/><Relationship Id="rId66" Type="http://schemas.openxmlformats.org/officeDocument/2006/relationships/slideLayout" Target="../slideLayouts/slideLayout83.xml"/><Relationship Id="rId131" Type="http://schemas.openxmlformats.org/officeDocument/2006/relationships/slideLayout" Target="../slideLayouts/slideLayout148.xml"/><Relationship Id="rId327" Type="http://schemas.openxmlformats.org/officeDocument/2006/relationships/slideLayout" Target="../slideLayouts/slideLayout344.xml"/><Relationship Id="rId369" Type="http://schemas.openxmlformats.org/officeDocument/2006/relationships/slideLayout" Target="../slideLayouts/slideLayout386.xml"/><Relationship Id="rId534" Type="http://schemas.openxmlformats.org/officeDocument/2006/relationships/slideLayout" Target="../slideLayouts/slideLayout551.xml"/><Relationship Id="rId173" Type="http://schemas.openxmlformats.org/officeDocument/2006/relationships/slideLayout" Target="../slideLayouts/slideLayout190.xml"/><Relationship Id="rId229" Type="http://schemas.openxmlformats.org/officeDocument/2006/relationships/slideLayout" Target="../slideLayouts/slideLayout246.xml"/><Relationship Id="rId380" Type="http://schemas.openxmlformats.org/officeDocument/2006/relationships/slideLayout" Target="../slideLayouts/slideLayout397.xml"/><Relationship Id="rId436" Type="http://schemas.openxmlformats.org/officeDocument/2006/relationships/slideLayout" Target="../slideLayouts/slideLayout453.xml"/><Relationship Id="rId240" Type="http://schemas.openxmlformats.org/officeDocument/2006/relationships/slideLayout" Target="../slideLayouts/slideLayout257.xml"/><Relationship Id="rId478" Type="http://schemas.openxmlformats.org/officeDocument/2006/relationships/slideLayout" Target="../slideLayouts/slideLayout495.xml"/><Relationship Id="rId35" Type="http://schemas.openxmlformats.org/officeDocument/2006/relationships/slideLayout" Target="../slideLayouts/slideLayout52.xml"/><Relationship Id="rId77" Type="http://schemas.openxmlformats.org/officeDocument/2006/relationships/slideLayout" Target="../slideLayouts/slideLayout94.xml"/><Relationship Id="rId100" Type="http://schemas.openxmlformats.org/officeDocument/2006/relationships/slideLayout" Target="../slideLayouts/slideLayout117.xml"/><Relationship Id="rId282" Type="http://schemas.openxmlformats.org/officeDocument/2006/relationships/slideLayout" Target="../slideLayouts/slideLayout299.xml"/><Relationship Id="rId338" Type="http://schemas.openxmlformats.org/officeDocument/2006/relationships/slideLayout" Target="../slideLayouts/slideLayout355.xml"/><Relationship Id="rId503" Type="http://schemas.openxmlformats.org/officeDocument/2006/relationships/slideLayout" Target="../slideLayouts/slideLayout520.xml"/><Relationship Id="rId545" Type="http://schemas.openxmlformats.org/officeDocument/2006/relationships/slideLayout" Target="../slideLayouts/slideLayout562.xml"/><Relationship Id="rId8" Type="http://schemas.openxmlformats.org/officeDocument/2006/relationships/slideLayout" Target="../slideLayouts/slideLayout25.xml"/><Relationship Id="rId142" Type="http://schemas.openxmlformats.org/officeDocument/2006/relationships/slideLayout" Target="../slideLayouts/slideLayout159.xml"/><Relationship Id="rId184" Type="http://schemas.openxmlformats.org/officeDocument/2006/relationships/slideLayout" Target="../slideLayouts/slideLayout201.xml"/><Relationship Id="rId391" Type="http://schemas.openxmlformats.org/officeDocument/2006/relationships/slideLayout" Target="../slideLayouts/slideLayout408.xml"/><Relationship Id="rId405" Type="http://schemas.openxmlformats.org/officeDocument/2006/relationships/slideLayout" Target="../slideLayouts/slideLayout422.xml"/><Relationship Id="rId447" Type="http://schemas.openxmlformats.org/officeDocument/2006/relationships/slideLayout" Target="../slideLayouts/slideLayout464.xml"/><Relationship Id="rId251" Type="http://schemas.openxmlformats.org/officeDocument/2006/relationships/slideLayout" Target="../slideLayouts/slideLayout268.xml"/><Relationship Id="rId489" Type="http://schemas.openxmlformats.org/officeDocument/2006/relationships/slideLayout" Target="../slideLayouts/slideLayout506.xml"/><Relationship Id="rId46" Type="http://schemas.openxmlformats.org/officeDocument/2006/relationships/slideLayout" Target="../slideLayouts/slideLayout63.xml"/><Relationship Id="rId293" Type="http://schemas.openxmlformats.org/officeDocument/2006/relationships/slideLayout" Target="../slideLayouts/slideLayout310.xml"/><Relationship Id="rId307" Type="http://schemas.openxmlformats.org/officeDocument/2006/relationships/slideLayout" Target="../slideLayouts/slideLayout324.xml"/><Relationship Id="rId349" Type="http://schemas.openxmlformats.org/officeDocument/2006/relationships/slideLayout" Target="../slideLayouts/slideLayout366.xml"/><Relationship Id="rId514" Type="http://schemas.openxmlformats.org/officeDocument/2006/relationships/slideLayout" Target="../slideLayouts/slideLayout531.xml"/><Relationship Id="rId88" Type="http://schemas.openxmlformats.org/officeDocument/2006/relationships/slideLayout" Target="../slideLayouts/slideLayout105.xml"/><Relationship Id="rId111" Type="http://schemas.openxmlformats.org/officeDocument/2006/relationships/slideLayout" Target="../slideLayouts/slideLayout128.xml"/><Relationship Id="rId153" Type="http://schemas.openxmlformats.org/officeDocument/2006/relationships/slideLayout" Target="../slideLayouts/slideLayout170.xml"/><Relationship Id="rId195" Type="http://schemas.openxmlformats.org/officeDocument/2006/relationships/slideLayout" Target="../slideLayouts/slideLayout212.xml"/><Relationship Id="rId209" Type="http://schemas.openxmlformats.org/officeDocument/2006/relationships/slideLayout" Target="../slideLayouts/slideLayout226.xml"/><Relationship Id="rId360" Type="http://schemas.openxmlformats.org/officeDocument/2006/relationships/slideLayout" Target="../slideLayouts/slideLayout377.xml"/><Relationship Id="rId416" Type="http://schemas.openxmlformats.org/officeDocument/2006/relationships/slideLayout" Target="../slideLayouts/slideLayout433.xml"/><Relationship Id="rId220" Type="http://schemas.openxmlformats.org/officeDocument/2006/relationships/slideLayout" Target="../slideLayouts/slideLayout237.xml"/><Relationship Id="rId458" Type="http://schemas.openxmlformats.org/officeDocument/2006/relationships/slideLayout" Target="../slideLayouts/slideLayout475.xml"/><Relationship Id="rId15" Type="http://schemas.openxmlformats.org/officeDocument/2006/relationships/slideLayout" Target="../slideLayouts/slideLayout32.xml"/><Relationship Id="rId57" Type="http://schemas.openxmlformats.org/officeDocument/2006/relationships/slideLayout" Target="../slideLayouts/slideLayout74.xml"/><Relationship Id="rId262" Type="http://schemas.openxmlformats.org/officeDocument/2006/relationships/slideLayout" Target="../slideLayouts/slideLayout279.xml"/><Relationship Id="rId318" Type="http://schemas.openxmlformats.org/officeDocument/2006/relationships/slideLayout" Target="../slideLayouts/slideLayout335.xml"/><Relationship Id="rId525" Type="http://schemas.openxmlformats.org/officeDocument/2006/relationships/slideLayout" Target="../slideLayouts/slideLayout542.xml"/><Relationship Id="rId99" Type="http://schemas.openxmlformats.org/officeDocument/2006/relationships/slideLayout" Target="../slideLayouts/slideLayout116.xml"/><Relationship Id="rId122" Type="http://schemas.openxmlformats.org/officeDocument/2006/relationships/slideLayout" Target="../slideLayouts/slideLayout139.xml"/><Relationship Id="rId164" Type="http://schemas.openxmlformats.org/officeDocument/2006/relationships/slideLayout" Target="../slideLayouts/slideLayout181.xml"/><Relationship Id="rId371" Type="http://schemas.openxmlformats.org/officeDocument/2006/relationships/slideLayout" Target="../slideLayouts/slideLayout388.xml"/><Relationship Id="rId427" Type="http://schemas.openxmlformats.org/officeDocument/2006/relationships/slideLayout" Target="../slideLayouts/slideLayout444.xml"/><Relationship Id="rId469" Type="http://schemas.openxmlformats.org/officeDocument/2006/relationships/slideLayout" Target="../slideLayouts/slideLayout486.xml"/><Relationship Id="rId26" Type="http://schemas.openxmlformats.org/officeDocument/2006/relationships/slideLayout" Target="../slideLayouts/slideLayout43.xml"/><Relationship Id="rId231" Type="http://schemas.openxmlformats.org/officeDocument/2006/relationships/slideLayout" Target="../slideLayouts/slideLayout248.xml"/><Relationship Id="rId273" Type="http://schemas.openxmlformats.org/officeDocument/2006/relationships/slideLayout" Target="../slideLayouts/slideLayout290.xml"/><Relationship Id="rId329" Type="http://schemas.openxmlformats.org/officeDocument/2006/relationships/slideLayout" Target="../slideLayouts/slideLayout346.xml"/><Relationship Id="rId480" Type="http://schemas.openxmlformats.org/officeDocument/2006/relationships/slideLayout" Target="../slideLayouts/slideLayout497.xml"/><Relationship Id="rId536" Type="http://schemas.openxmlformats.org/officeDocument/2006/relationships/slideLayout" Target="../slideLayouts/slideLayout553.xml"/><Relationship Id="rId68" Type="http://schemas.openxmlformats.org/officeDocument/2006/relationships/slideLayout" Target="../slideLayouts/slideLayout85.xml"/><Relationship Id="rId133" Type="http://schemas.openxmlformats.org/officeDocument/2006/relationships/slideLayout" Target="../slideLayouts/slideLayout150.xml"/><Relationship Id="rId175" Type="http://schemas.openxmlformats.org/officeDocument/2006/relationships/slideLayout" Target="../slideLayouts/slideLayout192.xml"/><Relationship Id="rId340" Type="http://schemas.openxmlformats.org/officeDocument/2006/relationships/slideLayout" Target="../slideLayouts/slideLayout357.xml"/><Relationship Id="rId200" Type="http://schemas.openxmlformats.org/officeDocument/2006/relationships/slideLayout" Target="../slideLayouts/slideLayout217.xml"/><Relationship Id="rId382" Type="http://schemas.openxmlformats.org/officeDocument/2006/relationships/slideLayout" Target="../slideLayouts/slideLayout399.xml"/><Relationship Id="rId438" Type="http://schemas.openxmlformats.org/officeDocument/2006/relationships/slideLayout" Target="../slideLayouts/slideLayout455.xml"/><Relationship Id="rId242" Type="http://schemas.openxmlformats.org/officeDocument/2006/relationships/slideLayout" Target="../slideLayouts/slideLayout259.xml"/><Relationship Id="rId284" Type="http://schemas.openxmlformats.org/officeDocument/2006/relationships/slideLayout" Target="../slideLayouts/slideLayout301.xml"/><Relationship Id="rId491" Type="http://schemas.openxmlformats.org/officeDocument/2006/relationships/slideLayout" Target="../slideLayouts/slideLayout508.xml"/><Relationship Id="rId505" Type="http://schemas.openxmlformats.org/officeDocument/2006/relationships/slideLayout" Target="../slideLayouts/slideLayout522.xml"/><Relationship Id="rId37" Type="http://schemas.openxmlformats.org/officeDocument/2006/relationships/slideLayout" Target="../slideLayouts/slideLayout54.xml"/><Relationship Id="rId79" Type="http://schemas.openxmlformats.org/officeDocument/2006/relationships/slideLayout" Target="../slideLayouts/slideLayout96.xml"/><Relationship Id="rId102" Type="http://schemas.openxmlformats.org/officeDocument/2006/relationships/slideLayout" Target="../slideLayouts/slideLayout119.xml"/><Relationship Id="rId144" Type="http://schemas.openxmlformats.org/officeDocument/2006/relationships/slideLayout" Target="../slideLayouts/slideLayout161.xml"/><Relationship Id="rId547" Type="http://schemas.openxmlformats.org/officeDocument/2006/relationships/slideLayout" Target="../slideLayouts/slideLayout564.xml"/><Relationship Id="rId90" Type="http://schemas.openxmlformats.org/officeDocument/2006/relationships/slideLayout" Target="../slideLayouts/slideLayout107.xml"/><Relationship Id="rId186" Type="http://schemas.openxmlformats.org/officeDocument/2006/relationships/slideLayout" Target="../slideLayouts/slideLayout203.xml"/><Relationship Id="rId351" Type="http://schemas.openxmlformats.org/officeDocument/2006/relationships/slideLayout" Target="../slideLayouts/slideLayout368.xml"/><Relationship Id="rId393" Type="http://schemas.openxmlformats.org/officeDocument/2006/relationships/slideLayout" Target="../slideLayouts/slideLayout410.xml"/><Relationship Id="rId407" Type="http://schemas.openxmlformats.org/officeDocument/2006/relationships/slideLayout" Target="../slideLayouts/slideLayout424.xml"/><Relationship Id="rId449" Type="http://schemas.openxmlformats.org/officeDocument/2006/relationships/slideLayout" Target="../slideLayouts/slideLayout466.xml"/><Relationship Id="rId211" Type="http://schemas.openxmlformats.org/officeDocument/2006/relationships/slideLayout" Target="../slideLayouts/slideLayout228.xml"/><Relationship Id="rId253" Type="http://schemas.openxmlformats.org/officeDocument/2006/relationships/slideLayout" Target="../slideLayouts/slideLayout270.xml"/><Relationship Id="rId295" Type="http://schemas.openxmlformats.org/officeDocument/2006/relationships/slideLayout" Target="../slideLayouts/slideLayout312.xml"/><Relationship Id="rId309" Type="http://schemas.openxmlformats.org/officeDocument/2006/relationships/slideLayout" Target="../slideLayouts/slideLayout326.xml"/><Relationship Id="rId460" Type="http://schemas.openxmlformats.org/officeDocument/2006/relationships/slideLayout" Target="../slideLayouts/slideLayout477.xml"/><Relationship Id="rId516" Type="http://schemas.openxmlformats.org/officeDocument/2006/relationships/slideLayout" Target="../slideLayouts/slideLayout533.xml"/><Relationship Id="rId48" Type="http://schemas.openxmlformats.org/officeDocument/2006/relationships/slideLayout" Target="../slideLayouts/slideLayout65.xml"/><Relationship Id="rId113" Type="http://schemas.openxmlformats.org/officeDocument/2006/relationships/slideLayout" Target="../slideLayouts/slideLayout130.xml"/><Relationship Id="rId320" Type="http://schemas.openxmlformats.org/officeDocument/2006/relationships/slideLayout" Target="../slideLayouts/slideLayout337.xml"/><Relationship Id="rId155" Type="http://schemas.openxmlformats.org/officeDocument/2006/relationships/slideLayout" Target="../slideLayouts/slideLayout172.xml"/><Relationship Id="rId197" Type="http://schemas.openxmlformats.org/officeDocument/2006/relationships/slideLayout" Target="../slideLayouts/slideLayout214.xml"/><Relationship Id="rId362" Type="http://schemas.openxmlformats.org/officeDocument/2006/relationships/slideLayout" Target="../slideLayouts/slideLayout379.xml"/><Relationship Id="rId418" Type="http://schemas.openxmlformats.org/officeDocument/2006/relationships/slideLayout" Target="../slideLayouts/slideLayout435.xml"/><Relationship Id="rId222" Type="http://schemas.openxmlformats.org/officeDocument/2006/relationships/slideLayout" Target="../slideLayouts/slideLayout239.xml"/><Relationship Id="rId264" Type="http://schemas.openxmlformats.org/officeDocument/2006/relationships/slideLayout" Target="../slideLayouts/slideLayout281.xml"/><Relationship Id="rId471" Type="http://schemas.openxmlformats.org/officeDocument/2006/relationships/slideLayout" Target="../slideLayouts/slideLayout488.xml"/><Relationship Id="rId17" Type="http://schemas.openxmlformats.org/officeDocument/2006/relationships/slideLayout" Target="../slideLayouts/slideLayout34.xml"/><Relationship Id="rId59" Type="http://schemas.openxmlformats.org/officeDocument/2006/relationships/slideLayout" Target="../slideLayouts/slideLayout76.xml"/><Relationship Id="rId124" Type="http://schemas.openxmlformats.org/officeDocument/2006/relationships/slideLayout" Target="../slideLayouts/slideLayout141.xml"/><Relationship Id="rId527" Type="http://schemas.openxmlformats.org/officeDocument/2006/relationships/slideLayout" Target="../slideLayouts/slideLayout544.xml"/><Relationship Id="rId70" Type="http://schemas.openxmlformats.org/officeDocument/2006/relationships/slideLayout" Target="../slideLayouts/slideLayout87.xml"/><Relationship Id="rId166" Type="http://schemas.openxmlformats.org/officeDocument/2006/relationships/slideLayout" Target="../slideLayouts/slideLayout183.xml"/><Relationship Id="rId331" Type="http://schemas.openxmlformats.org/officeDocument/2006/relationships/slideLayout" Target="../slideLayouts/slideLayout348.xml"/><Relationship Id="rId373" Type="http://schemas.openxmlformats.org/officeDocument/2006/relationships/slideLayout" Target="../slideLayouts/slideLayout390.xml"/><Relationship Id="rId429" Type="http://schemas.openxmlformats.org/officeDocument/2006/relationships/slideLayout" Target="../slideLayouts/slideLayout446.xml"/><Relationship Id="rId1" Type="http://schemas.openxmlformats.org/officeDocument/2006/relationships/slideLayout" Target="../slideLayouts/slideLayout18.xml"/><Relationship Id="rId233" Type="http://schemas.openxmlformats.org/officeDocument/2006/relationships/slideLayout" Target="../slideLayouts/slideLayout250.xml"/><Relationship Id="rId440" Type="http://schemas.openxmlformats.org/officeDocument/2006/relationships/slideLayout" Target="../slideLayouts/slideLayout457.xml"/><Relationship Id="rId28" Type="http://schemas.openxmlformats.org/officeDocument/2006/relationships/slideLayout" Target="../slideLayouts/slideLayout45.xml"/><Relationship Id="rId275" Type="http://schemas.openxmlformats.org/officeDocument/2006/relationships/slideLayout" Target="../slideLayouts/slideLayout292.xml"/><Relationship Id="rId300" Type="http://schemas.openxmlformats.org/officeDocument/2006/relationships/slideLayout" Target="../slideLayouts/slideLayout317.xml"/><Relationship Id="rId482" Type="http://schemas.openxmlformats.org/officeDocument/2006/relationships/slideLayout" Target="../slideLayouts/slideLayout499.xml"/><Relationship Id="rId538" Type="http://schemas.openxmlformats.org/officeDocument/2006/relationships/slideLayout" Target="../slideLayouts/slideLayout555.xml"/><Relationship Id="rId81" Type="http://schemas.openxmlformats.org/officeDocument/2006/relationships/slideLayout" Target="../slideLayouts/slideLayout98.xml"/><Relationship Id="rId135" Type="http://schemas.openxmlformats.org/officeDocument/2006/relationships/slideLayout" Target="../slideLayouts/slideLayout152.xml"/><Relationship Id="rId177" Type="http://schemas.openxmlformats.org/officeDocument/2006/relationships/slideLayout" Target="../slideLayouts/slideLayout194.xml"/><Relationship Id="rId342" Type="http://schemas.openxmlformats.org/officeDocument/2006/relationships/slideLayout" Target="../slideLayouts/slideLayout359.xml"/><Relationship Id="rId384" Type="http://schemas.openxmlformats.org/officeDocument/2006/relationships/slideLayout" Target="../slideLayouts/slideLayout401.xml"/><Relationship Id="rId202" Type="http://schemas.openxmlformats.org/officeDocument/2006/relationships/slideLayout" Target="../slideLayouts/slideLayout219.xml"/><Relationship Id="rId244" Type="http://schemas.openxmlformats.org/officeDocument/2006/relationships/slideLayout" Target="../slideLayouts/slideLayout261.xml"/><Relationship Id="rId39" Type="http://schemas.openxmlformats.org/officeDocument/2006/relationships/slideLayout" Target="../slideLayouts/slideLayout56.xml"/><Relationship Id="rId286" Type="http://schemas.openxmlformats.org/officeDocument/2006/relationships/slideLayout" Target="../slideLayouts/slideLayout303.xml"/><Relationship Id="rId451" Type="http://schemas.openxmlformats.org/officeDocument/2006/relationships/slideLayout" Target="../slideLayouts/slideLayout468.xml"/><Relationship Id="rId493" Type="http://schemas.openxmlformats.org/officeDocument/2006/relationships/slideLayout" Target="../slideLayouts/slideLayout510.xml"/><Relationship Id="rId507" Type="http://schemas.openxmlformats.org/officeDocument/2006/relationships/slideLayout" Target="../slideLayouts/slideLayout524.xml"/><Relationship Id="rId549" Type="http://schemas.openxmlformats.org/officeDocument/2006/relationships/slideLayout" Target="../slideLayouts/slideLayout566.xml"/><Relationship Id="rId50" Type="http://schemas.openxmlformats.org/officeDocument/2006/relationships/slideLayout" Target="../slideLayouts/slideLayout67.xml"/><Relationship Id="rId104" Type="http://schemas.openxmlformats.org/officeDocument/2006/relationships/slideLayout" Target="../slideLayouts/slideLayout121.xml"/><Relationship Id="rId146" Type="http://schemas.openxmlformats.org/officeDocument/2006/relationships/slideLayout" Target="../slideLayouts/slideLayout163.xml"/><Relationship Id="rId188" Type="http://schemas.openxmlformats.org/officeDocument/2006/relationships/slideLayout" Target="../slideLayouts/slideLayout205.xml"/><Relationship Id="rId311" Type="http://schemas.openxmlformats.org/officeDocument/2006/relationships/slideLayout" Target="../slideLayouts/slideLayout328.xml"/><Relationship Id="rId353" Type="http://schemas.openxmlformats.org/officeDocument/2006/relationships/slideLayout" Target="../slideLayouts/slideLayout370.xml"/><Relationship Id="rId395" Type="http://schemas.openxmlformats.org/officeDocument/2006/relationships/slideLayout" Target="../slideLayouts/slideLayout412.xml"/><Relationship Id="rId409" Type="http://schemas.openxmlformats.org/officeDocument/2006/relationships/slideLayout" Target="../slideLayouts/slideLayout426.xml"/><Relationship Id="rId92" Type="http://schemas.openxmlformats.org/officeDocument/2006/relationships/slideLayout" Target="../slideLayouts/slideLayout109.xml"/><Relationship Id="rId213" Type="http://schemas.openxmlformats.org/officeDocument/2006/relationships/slideLayout" Target="../slideLayouts/slideLayout230.xml"/><Relationship Id="rId420" Type="http://schemas.openxmlformats.org/officeDocument/2006/relationships/slideLayout" Target="../slideLayouts/slideLayout437.xml"/><Relationship Id="rId255" Type="http://schemas.openxmlformats.org/officeDocument/2006/relationships/slideLayout" Target="../slideLayouts/slideLayout272.xml"/><Relationship Id="rId297" Type="http://schemas.openxmlformats.org/officeDocument/2006/relationships/slideLayout" Target="../slideLayouts/slideLayout314.xml"/><Relationship Id="rId462" Type="http://schemas.openxmlformats.org/officeDocument/2006/relationships/slideLayout" Target="../slideLayouts/slideLayout479.xml"/><Relationship Id="rId518" Type="http://schemas.openxmlformats.org/officeDocument/2006/relationships/slideLayout" Target="../slideLayouts/slideLayout535.xml"/><Relationship Id="rId115" Type="http://schemas.openxmlformats.org/officeDocument/2006/relationships/slideLayout" Target="../slideLayouts/slideLayout132.xml"/><Relationship Id="rId157" Type="http://schemas.openxmlformats.org/officeDocument/2006/relationships/slideLayout" Target="../slideLayouts/slideLayout174.xml"/><Relationship Id="rId322" Type="http://schemas.openxmlformats.org/officeDocument/2006/relationships/slideLayout" Target="../slideLayouts/slideLayout339.xml"/><Relationship Id="rId364" Type="http://schemas.openxmlformats.org/officeDocument/2006/relationships/slideLayout" Target="../slideLayouts/slideLayout381.xml"/><Relationship Id="rId61" Type="http://schemas.openxmlformats.org/officeDocument/2006/relationships/slideLayout" Target="../slideLayouts/slideLayout78.xml"/><Relationship Id="rId199" Type="http://schemas.openxmlformats.org/officeDocument/2006/relationships/slideLayout" Target="../slideLayouts/slideLayout216.xml"/><Relationship Id="rId19" Type="http://schemas.openxmlformats.org/officeDocument/2006/relationships/slideLayout" Target="../slideLayouts/slideLayout36.xml"/><Relationship Id="rId224" Type="http://schemas.openxmlformats.org/officeDocument/2006/relationships/slideLayout" Target="../slideLayouts/slideLayout241.xml"/><Relationship Id="rId266" Type="http://schemas.openxmlformats.org/officeDocument/2006/relationships/slideLayout" Target="../slideLayouts/slideLayout283.xml"/><Relationship Id="rId431" Type="http://schemas.openxmlformats.org/officeDocument/2006/relationships/slideLayout" Target="../slideLayouts/slideLayout448.xml"/><Relationship Id="rId473" Type="http://schemas.openxmlformats.org/officeDocument/2006/relationships/slideLayout" Target="../slideLayouts/slideLayout490.xml"/><Relationship Id="rId529" Type="http://schemas.openxmlformats.org/officeDocument/2006/relationships/slideLayout" Target="../slideLayouts/slideLayout546.xml"/><Relationship Id="rId30" Type="http://schemas.openxmlformats.org/officeDocument/2006/relationships/slideLayout" Target="../slideLayouts/slideLayout47.xml"/><Relationship Id="rId126" Type="http://schemas.openxmlformats.org/officeDocument/2006/relationships/slideLayout" Target="../slideLayouts/slideLayout143.xml"/><Relationship Id="rId168" Type="http://schemas.openxmlformats.org/officeDocument/2006/relationships/slideLayout" Target="../slideLayouts/slideLayout185.xml"/><Relationship Id="rId333" Type="http://schemas.openxmlformats.org/officeDocument/2006/relationships/slideLayout" Target="../slideLayouts/slideLayout350.xml"/><Relationship Id="rId540" Type="http://schemas.openxmlformats.org/officeDocument/2006/relationships/slideLayout" Target="../slideLayouts/slideLayout557.xml"/><Relationship Id="rId72" Type="http://schemas.openxmlformats.org/officeDocument/2006/relationships/slideLayout" Target="../slideLayouts/slideLayout89.xml"/><Relationship Id="rId375" Type="http://schemas.openxmlformats.org/officeDocument/2006/relationships/slideLayout" Target="../slideLayouts/slideLayout392.xml"/><Relationship Id="rId3" Type="http://schemas.openxmlformats.org/officeDocument/2006/relationships/slideLayout" Target="../slideLayouts/slideLayout20.xml"/><Relationship Id="rId235" Type="http://schemas.openxmlformats.org/officeDocument/2006/relationships/slideLayout" Target="../slideLayouts/slideLayout252.xml"/><Relationship Id="rId277" Type="http://schemas.openxmlformats.org/officeDocument/2006/relationships/slideLayout" Target="../slideLayouts/slideLayout294.xml"/><Relationship Id="rId400" Type="http://schemas.openxmlformats.org/officeDocument/2006/relationships/slideLayout" Target="../slideLayouts/slideLayout417.xml"/><Relationship Id="rId442" Type="http://schemas.openxmlformats.org/officeDocument/2006/relationships/slideLayout" Target="../slideLayouts/slideLayout459.xml"/><Relationship Id="rId484" Type="http://schemas.openxmlformats.org/officeDocument/2006/relationships/slideLayout" Target="../slideLayouts/slideLayout501.xml"/><Relationship Id="rId137" Type="http://schemas.openxmlformats.org/officeDocument/2006/relationships/slideLayout" Target="../slideLayouts/slideLayout154.xml"/><Relationship Id="rId302" Type="http://schemas.openxmlformats.org/officeDocument/2006/relationships/slideLayout" Target="../slideLayouts/slideLayout319.xml"/><Relationship Id="rId344" Type="http://schemas.openxmlformats.org/officeDocument/2006/relationships/slideLayout" Target="../slideLayouts/slideLayout361.xml"/><Relationship Id="rId41" Type="http://schemas.openxmlformats.org/officeDocument/2006/relationships/slideLayout" Target="../slideLayouts/slideLayout58.xml"/><Relationship Id="rId83" Type="http://schemas.openxmlformats.org/officeDocument/2006/relationships/slideLayout" Target="../slideLayouts/slideLayout100.xml"/><Relationship Id="rId179" Type="http://schemas.openxmlformats.org/officeDocument/2006/relationships/slideLayout" Target="../slideLayouts/slideLayout196.xml"/><Relationship Id="rId386" Type="http://schemas.openxmlformats.org/officeDocument/2006/relationships/slideLayout" Target="../slideLayouts/slideLayout403.xml"/><Relationship Id="rId551" Type="http://schemas.openxmlformats.org/officeDocument/2006/relationships/slideLayout" Target="../slideLayouts/slideLayout568.xml"/><Relationship Id="rId190" Type="http://schemas.openxmlformats.org/officeDocument/2006/relationships/slideLayout" Target="../slideLayouts/slideLayout207.xml"/><Relationship Id="rId204" Type="http://schemas.openxmlformats.org/officeDocument/2006/relationships/slideLayout" Target="../slideLayouts/slideLayout221.xml"/><Relationship Id="rId246" Type="http://schemas.openxmlformats.org/officeDocument/2006/relationships/slideLayout" Target="../slideLayouts/slideLayout263.xml"/><Relationship Id="rId288" Type="http://schemas.openxmlformats.org/officeDocument/2006/relationships/slideLayout" Target="../slideLayouts/slideLayout305.xml"/><Relationship Id="rId411" Type="http://schemas.openxmlformats.org/officeDocument/2006/relationships/slideLayout" Target="../slideLayouts/slideLayout428.xml"/><Relationship Id="rId453" Type="http://schemas.openxmlformats.org/officeDocument/2006/relationships/slideLayout" Target="../slideLayouts/slideLayout470.xml"/><Relationship Id="rId509" Type="http://schemas.openxmlformats.org/officeDocument/2006/relationships/slideLayout" Target="../slideLayouts/slideLayout526.xml"/><Relationship Id="rId106" Type="http://schemas.openxmlformats.org/officeDocument/2006/relationships/slideLayout" Target="../slideLayouts/slideLayout123.xml"/><Relationship Id="rId313" Type="http://schemas.openxmlformats.org/officeDocument/2006/relationships/slideLayout" Target="../slideLayouts/slideLayout330.xml"/><Relationship Id="rId495" Type="http://schemas.openxmlformats.org/officeDocument/2006/relationships/slideLayout" Target="../slideLayouts/slideLayout512.xml"/><Relationship Id="rId10" Type="http://schemas.openxmlformats.org/officeDocument/2006/relationships/slideLayout" Target="../slideLayouts/slideLayout27.xml"/><Relationship Id="rId52" Type="http://schemas.openxmlformats.org/officeDocument/2006/relationships/slideLayout" Target="../slideLayouts/slideLayout69.xml"/><Relationship Id="rId94" Type="http://schemas.openxmlformats.org/officeDocument/2006/relationships/slideLayout" Target="../slideLayouts/slideLayout111.xml"/><Relationship Id="rId148" Type="http://schemas.openxmlformats.org/officeDocument/2006/relationships/slideLayout" Target="../slideLayouts/slideLayout165.xml"/><Relationship Id="rId355" Type="http://schemas.openxmlformats.org/officeDocument/2006/relationships/slideLayout" Target="../slideLayouts/slideLayout372.xml"/><Relationship Id="rId397" Type="http://schemas.openxmlformats.org/officeDocument/2006/relationships/slideLayout" Target="../slideLayouts/slideLayout414.xml"/><Relationship Id="rId520" Type="http://schemas.openxmlformats.org/officeDocument/2006/relationships/slideLayout" Target="../slideLayouts/slideLayout537.xml"/><Relationship Id="rId215" Type="http://schemas.openxmlformats.org/officeDocument/2006/relationships/slideLayout" Target="../slideLayouts/slideLayout232.xml"/><Relationship Id="rId257" Type="http://schemas.openxmlformats.org/officeDocument/2006/relationships/slideLayout" Target="../slideLayouts/slideLayout274.xml"/><Relationship Id="rId422" Type="http://schemas.openxmlformats.org/officeDocument/2006/relationships/slideLayout" Target="../slideLayouts/slideLayout439.xml"/><Relationship Id="rId464" Type="http://schemas.openxmlformats.org/officeDocument/2006/relationships/slideLayout" Target="../slideLayouts/slideLayout481.xml"/><Relationship Id="rId299" Type="http://schemas.openxmlformats.org/officeDocument/2006/relationships/slideLayout" Target="../slideLayouts/slideLayout316.xml"/><Relationship Id="rId63" Type="http://schemas.openxmlformats.org/officeDocument/2006/relationships/slideLayout" Target="../slideLayouts/slideLayout80.xml"/><Relationship Id="rId159" Type="http://schemas.openxmlformats.org/officeDocument/2006/relationships/slideLayout" Target="../slideLayouts/slideLayout176.xml"/><Relationship Id="rId366" Type="http://schemas.openxmlformats.org/officeDocument/2006/relationships/slideLayout" Target="../slideLayouts/slideLayout383.xml"/><Relationship Id="rId226" Type="http://schemas.openxmlformats.org/officeDocument/2006/relationships/slideLayout" Target="../slideLayouts/slideLayout243.xml"/><Relationship Id="rId433" Type="http://schemas.openxmlformats.org/officeDocument/2006/relationships/slideLayout" Target="../slideLayouts/slideLayout450.xml"/><Relationship Id="rId74" Type="http://schemas.openxmlformats.org/officeDocument/2006/relationships/slideLayout" Target="../slideLayouts/slideLayout91.xml"/><Relationship Id="rId377" Type="http://schemas.openxmlformats.org/officeDocument/2006/relationships/slideLayout" Target="../slideLayouts/slideLayout394.xml"/><Relationship Id="rId500" Type="http://schemas.openxmlformats.org/officeDocument/2006/relationships/slideLayout" Target="../slideLayouts/slideLayout517.xml"/><Relationship Id="rId5" Type="http://schemas.openxmlformats.org/officeDocument/2006/relationships/slideLayout" Target="../slideLayouts/slideLayout22.xml"/><Relationship Id="rId237" Type="http://schemas.openxmlformats.org/officeDocument/2006/relationships/slideLayout" Target="../slideLayouts/slideLayout254.xml"/><Relationship Id="rId444" Type="http://schemas.openxmlformats.org/officeDocument/2006/relationships/slideLayout" Target="../slideLayouts/slideLayout461.xml"/><Relationship Id="rId290" Type="http://schemas.openxmlformats.org/officeDocument/2006/relationships/slideLayout" Target="../slideLayouts/slideLayout307.xml"/><Relationship Id="rId304" Type="http://schemas.openxmlformats.org/officeDocument/2006/relationships/slideLayout" Target="../slideLayouts/slideLayout321.xml"/><Relationship Id="rId388" Type="http://schemas.openxmlformats.org/officeDocument/2006/relationships/slideLayout" Target="../slideLayouts/slideLayout405.xml"/><Relationship Id="rId511" Type="http://schemas.openxmlformats.org/officeDocument/2006/relationships/slideLayout" Target="../slideLayouts/slideLayout528.xml"/><Relationship Id="rId85" Type="http://schemas.openxmlformats.org/officeDocument/2006/relationships/slideLayout" Target="../slideLayouts/slideLayout102.xml"/><Relationship Id="rId150" Type="http://schemas.openxmlformats.org/officeDocument/2006/relationships/slideLayout" Target="../slideLayouts/slideLayout167.xml"/><Relationship Id="rId248" Type="http://schemas.openxmlformats.org/officeDocument/2006/relationships/slideLayout" Target="../slideLayouts/slideLayout265.xml"/><Relationship Id="rId455" Type="http://schemas.openxmlformats.org/officeDocument/2006/relationships/slideLayout" Target="../slideLayouts/slideLayout472.xml"/><Relationship Id="rId12" Type="http://schemas.openxmlformats.org/officeDocument/2006/relationships/slideLayout" Target="../slideLayouts/slideLayout29.xml"/><Relationship Id="rId108" Type="http://schemas.openxmlformats.org/officeDocument/2006/relationships/slideLayout" Target="../slideLayouts/slideLayout125.xml"/><Relationship Id="rId315" Type="http://schemas.openxmlformats.org/officeDocument/2006/relationships/slideLayout" Target="../slideLayouts/slideLayout332.xml"/><Relationship Id="rId522" Type="http://schemas.openxmlformats.org/officeDocument/2006/relationships/slideLayout" Target="../slideLayouts/slideLayout539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686.xml"/><Relationship Id="rId21" Type="http://schemas.openxmlformats.org/officeDocument/2006/relationships/slideLayout" Target="../slideLayouts/slideLayout590.xml"/><Relationship Id="rId42" Type="http://schemas.openxmlformats.org/officeDocument/2006/relationships/slideLayout" Target="../slideLayouts/slideLayout611.xml"/><Relationship Id="rId63" Type="http://schemas.openxmlformats.org/officeDocument/2006/relationships/slideLayout" Target="../slideLayouts/slideLayout632.xml"/><Relationship Id="rId84" Type="http://schemas.openxmlformats.org/officeDocument/2006/relationships/slideLayout" Target="../slideLayouts/slideLayout653.xml"/><Relationship Id="rId138" Type="http://schemas.openxmlformats.org/officeDocument/2006/relationships/slideLayout" Target="../slideLayouts/slideLayout707.xml"/><Relationship Id="rId159" Type="http://schemas.openxmlformats.org/officeDocument/2006/relationships/slideLayout" Target="../slideLayouts/slideLayout728.xml"/><Relationship Id="rId170" Type="http://schemas.openxmlformats.org/officeDocument/2006/relationships/slideLayout" Target="../slideLayouts/slideLayout739.xml"/><Relationship Id="rId191" Type="http://schemas.openxmlformats.org/officeDocument/2006/relationships/slideLayout" Target="../slideLayouts/slideLayout760.xml"/><Relationship Id="rId107" Type="http://schemas.openxmlformats.org/officeDocument/2006/relationships/slideLayout" Target="../slideLayouts/slideLayout676.xml"/><Relationship Id="rId11" Type="http://schemas.openxmlformats.org/officeDocument/2006/relationships/slideLayout" Target="../slideLayouts/slideLayout580.xml"/><Relationship Id="rId32" Type="http://schemas.openxmlformats.org/officeDocument/2006/relationships/slideLayout" Target="../slideLayouts/slideLayout601.xml"/><Relationship Id="rId53" Type="http://schemas.openxmlformats.org/officeDocument/2006/relationships/slideLayout" Target="../slideLayouts/slideLayout622.xml"/><Relationship Id="rId74" Type="http://schemas.openxmlformats.org/officeDocument/2006/relationships/slideLayout" Target="../slideLayouts/slideLayout643.xml"/><Relationship Id="rId128" Type="http://schemas.openxmlformats.org/officeDocument/2006/relationships/slideLayout" Target="../slideLayouts/slideLayout697.xml"/><Relationship Id="rId149" Type="http://schemas.openxmlformats.org/officeDocument/2006/relationships/slideLayout" Target="../slideLayouts/slideLayout718.xml"/><Relationship Id="rId5" Type="http://schemas.openxmlformats.org/officeDocument/2006/relationships/slideLayout" Target="../slideLayouts/slideLayout574.xml"/><Relationship Id="rId95" Type="http://schemas.openxmlformats.org/officeDocument/2006/relationships/slideLayout" Target="../slideLayouts/slideLayout664.xml"/><Relationship Id="rId160" Type="http://schemas.openxmlformats.org/officeDocument/2006/relationships/slideLayout" Target="../slideLayouts/slideLayout729.xml"/><Relationship Id="rId181" Type="http://schemas.openxmlformats.org/officeDocument/2006/relationships/slideLayout" Target="../slideLayouts/slideLayout750.xml"/><Relationship Id="rId22" Type="http://schemas.openxmlformats.org/officeDocument/2006/relationships/slideLayout" Target="../slideLayouts/slideLayout591.xml"/><Relationship Id="rId43" Type="http://schemas.openxmlformats.org/officeDocument/2006/relationships/slideLayout" Target="../slideLayouts/slideLayout612.xml"/><Relationship Id="rId64" Type="http://schemas.openxmlformats.org/officeDocument/2006/relationships/slideLayout" Target="../slideLayouts/slideLayout633.xml"/><Relationship Id="rId118" Type="http://schemas.openxmlformats.org/officeDocument/2006/relationships/slideLayout" Target="../slideLayouts/slideLayout687.xml"/><Relationship Id="rId139" Type="http://schemas.openxmlformats.org/officeDocument/2006/relationships/slideLayout" Target="../slideLayouts/slideLayout708.xml"/><Relationship Id="rId85" Type="http://schemas.openxmlformats.org/officeDocument/2006/relationships/slideLayout" Target="../slideLayouts/slideLayout654.xml"/><Relationship Id="rId150" Type="http://schemas.openxmlformats.org/officeDocument/2006/relationships/slideLayout" Target="../slideLayouts/slideLayout719.xml"/><Relationship Id="rId171" Type="http://schemas.openxmlformats.org/officeDocument/2006/relationships/slideLayout" Target="../slideLayouts/slideLayout740.xml"/><Relationship Id="rId192" Type="http://schemas.openxmlformats.org/officeDocument/2006/relationships/slideLayout" Target="../slideLayouts/slideLayout761.xml"/><Relationship Id="rId12" Type="http://schemas.openxmlformats.org/officeDocument/2006/relationships/slideLayout" Target="../slideLayouts/slideLayout581.xml"/><Relationship Id="rId33" Type="http://schemas.openxmlformats.org/officeDocument/2006/relationships/slideLayout" Target="../slideLayouts/slideLayout602.xml"/><Relationship Id="rId108" Type="http://schemas.openxmlformats.org/officeDocument/2006/relationships/slideLayout" Target="../slideLayouts/slideLayout677.xml"/><Relationship Id="rId129" Type="http://schemas.openxmlformats.org/officeDocument/2006/relationships/slideLayout" Target="../slideLayouts/slideLayout698.xml"/><Relationship Id="rId54" Type="http://schemas.openxmlformats.org/officeDocument/2006/relationships/slideLayout" Target="../slideLayouts/slideLayout623.xml"/><Relationship Id="rId75" Type="http://schemas.openxmlformats.org/officeDocument/2006/relationships/slideLayout" Target="../slideLayouts/slideLayout644.xml"/><Relationship Id="rId96" Type="http://schemas.openxmlformats.org/officeDocument/2006/relationships/slideLayout" Target="../slideLayouts/slideLayout665.xml"/><Relationship Id="rId140" Type="http://schemas.openxmlformats.org/officeDocument/2006/relationships/slideLayout" Target="../slideLayouts/slideLayout709.xml"/><Relationship Id="rId161" Type="http://schemas.openxmlformats.org/officeDocument/2006/relationships/slideLayout" Target="../slideLayouts/slideLayout730.xml"/><Relationship Id="rId182" Type="http://schemas.openxmlformats.org/officeDocument/2006/relationships/slideLayout" Target="../slideLayouts/slideLayout751.xml"/><Relationship Id="rId6" Type="http://schemas.openxmlformats.org/officeDocument/2006/relationships/slideLayout" Target="../slideLayouts/slideLayout575.xml"/><Relationship Id="rId23" Type="http://schemas.openxmlformats.org/officeDocument/2006/relationships/slideLayout" Target="../slideLayouts/slideLayout592.xml"/><Relationship Id="rId119" Type="http://schemas.openxmlformats.org/officeDocument/2006/relationships/slideLayout" Target="../slideLayouts/slideLayout688.xml"/><Relationship Id="rId44" Type="http://schemas.openxmlformats.org/officeDocument/2006/relationships/slideLayout" Target="../slideLayouts/slideLayout613.xml"/><Relationship Id="rId65" Type="http://schemas.openxmlformats.org/officeDocument/2006/relationships/slideLayout" Target="../slideLayouts/slideLayout634.xml"/><Relationship Id="rId86" Type="http://schemas.openxmlformats.org/officeDocument/2006/relationships/slideLayout" Target="../slideLayouts/slideLayout655.xml"/><Relationship Id="rId130" Type="http://schemas.openxmlformats.org/officeDocument/2006/relationships/slideLayout" Target="../slideLayouts/slideLayout699.xml"/><Relationship Id="rId151" Type="http://schemas.openxmlformats.org/officeDocument/2006/relationships/slideLayout" Target="../slideLayouts/slideLayout720.xml"/><Relationship Id="rId172" Type="http://schemas.openxmlformats.org/officeDocument/2006/relationships/slideLayout" Target="../slideLayouts/slideLayout741.xml"/><Relationship Id="rId193" Type="http://schemas.openxmlformats.org/officeDocument/2006/relationships/slideLayout" Target="../slideLayouts/slideLayout762.xml"/><Relationship Id="rId13" Type="http://schemas.openxmlformats.org/officeDocument/2006/relationships/slideLayout" Target="../slideLayouts/slideLayout582.xml"/><Relationship Id="rId109" Type="http://schemas.openxmlformats.org/officeDocument/2006/relationships/slideLayout" Target="../slideLayouts/slideLayout678.xml"/><Relationship Id="rId34" Type="http://schemas.openxmlformats.org/officeDocument/2006/relationships/slideLayout" Target="../slideLayouts/slideLayout603.xml"/><Relationship Id="rId55" Type="http://schemas.openxmlformats.org/officeDocument/2006/relationships/slideLayout" Target="../slideLayouts/slideLayout624.xml"/><Relationship Id="rId76" Type="http://schemas.openxmlformats.org/officeDocument/2006/relationships/slideLayout" Target="../slideLayouts/slideLayout645.xml"/><Relationship Id="rId97" Type="http://schemas.openxmlformats.org/officeDocument/2006/relationships/slideLayout" Target="../slideLayouts/slideLayout666.xml"/><Relationship Id="rId120" Type="http://schemas.openxmlformats.org/officeDocument/2006/relationships/slideLayout" Target="../slideLayouts/slideLayout689.xml"/><Relationship Id="rId141" Type="http://schemas.openxmlformats.org/officeDocument/2006/relationships/slideLayout" Target="../slideLayouts/slideLayout710.xml"/><Relationship Id="rId7" Type="http://schemas.openxmlformats.org/officeDocument/2006/relationships/slideLayout" Target="../slideLayouts/slideLayout576.xml"/><Relationship Id="rId162" Type="http://schemas.openxmlformats.org/officeDocument/2006/relationships/slideLayout" Target="../slideLayouts/slideLayout731.xml"/><Relationship Id="rId183" Type="http://schemas.openxmlformats.org/officeDocument/2006/relationships/slideLayout" Target="../slideLayouts/slideLayout752.xml"/><Relationship Id="rId2" Type="http://schemas.openxmlformats.org/officeDocument/2006/relationships/slideLayout" Target="../slideLayouts/slideLayout571.xml"/><Relationship Id="rId29" Type="http://schemas.openxmlformats.org/officeDocument/2006/relationships/slideLayout" Target="../slideLayouts/slideLayout598.xml"/><Relationship Id="rId24" Type="http://schemas.openxmlformats.org/officeDocument/2006/relationships/slideLayout" Target="../slideLayouts/slideLayout593.xml"/><Relationship Id="rId40" Type="http://schemas.openxmlformats.org/officeDocument/2006/relationships/slideLayout" Target="../slideLayouts/slideLayout609.xml"/><Relationship Id="rId45" Type="http://schemas.openxmlformats.org/officeDocument/2006/relationships/slideLayout" Target="../slideLayouts/slideLayout614.xml"/><Relationship Id="rId66" Type="http://schemas.openxmlformats.org/officeDocument/2006/relationships/slideLayout" Target="../slideLayouts/slideLayout635.xml"/><Relationship Id="rId87" Type="http://schemas.openxmlformats.org/officeDocument/2006/relationships/slideLayout" Target="../slideLayouts/slideLayout656.xml"/><Relationship Id="rId110" Type="http://schemas.openxmlformats.org/officeDocument/2006/relationships/slideLayout" Target="../slideLayouts/slideLayout679.xml"/><Relationship Id="rId115" Type="http://schemas.openxmlformats.org/officeDocument/2006/relationships/slideLayout" Target="../slideLayouts/slideLayout684.xml"/><Relationship Id="rId131" Type="http://schemas.openxmlformats.org/officeDocument/2006/relationships/slideLayout" Target="../slideLayouts/slideLayout700.xml"/><Relationship Id="rId136" Type="http://schemas.openxmlformats.org/officeDocument/2006/relationships/slideLayout" Target="../slideLayouts/slideLayout705.xml"/><Relationship Id="rId157" Type="http://schemas.openxmlformats.org/officeDocument/2006/relationships/slideLayout" Target="../slideLayouts/slideLayout726.xml"/><Relationship Id="rId178" Type="http://schemas.openxmlformats.org/officeDocument/2006/relationships/slideLayout" Target="../slideLayouts/slideLayout747.xml"/><Relationship Id="rId61" Type="http://schemas.openxmlformats.org/officeDocument/2006/relationships/slideLayout" Target="../slideLayouts/slideLayout630.xml"/><Relationship Id="rId82" Type="http://schemas.openxmlformats.org/officeDocument/2006/relationships/slideLayout" Target="../slideLayouts/slideLayout651.xml"/><Relationship Id="rId152" Type="http://schemas.openxmlformats.org/officeDocument/2006/relationships/slideLayout" Target="../slideLayouts/slideLayout721.xml"/><Relationship Id="rId173" Type="http://schemas.openxmlformats.org/officeDocument/2006/relationships/slideLayout" Target="../slideLayouts/slideLayout742.xml"/><Relationship Id="rId194" Type="http://schemas.openxmlformats.org/officeDocument/2006/relationships/slideLayout" Target="../slideLayouts/slideLayout763.xml"/><Relationship Id="rId199" Type="http://schemas.openxmlformats.org/officeDocument/2006/relationships/slideLayout" Target="../slideLayouts/slideLayout768.xml"/><Relationship Id="rId203" Type="http://schemas.openxmlformats.org/officeDocument/2006/relationships/theme" Target="../theme/theme3.xml"/><Relationship Id="rId19" Type="http://schemas.openxmlformats.org/officeDocument/2006/relationships/slideLayout" Target="../slideLayouts/slideLayout588.xml"/><Relationship Id="rId14" Type="http://schemas.openxmlformats.org/officeDocument/2006/relationships/slideLayout" Target="../slideLayouts/slideLayout583.xml"/><Relationship Id="rId30" Type="http://schemas.openxmlformats.org/officeDocument/2006/relationships/slideLayout" Target="../slideLayouts/slideLayout599.xml"/><Relationship Id="rId35" Type="http://schemas.openxmlformats.org/officeDocument/2006/relationships/slideLayout" Target="../slideLayouts/slideLayout604.xml"/><Relationship Id="rId56" Type="http://schemas.openxmlformats.org/officeDocument/2006/relationships/slideLayout" Target="../slideLayouts/slideLayout625.xml"/><Relationship Id="rId77" Type="http://schemas.openxmlformats.org/officeDocument/2006/relationships/slideLayout" Target="../slideLayouts/slideLayout646.xml"/><Relationship Id="rId100" Type="http://schemas.openxmlformats.org/officeDocument/2006/relationships/slideLayout" Target="../slideLayouts/slideLayout669.xml"/><Relationship Id="rId105" Type="http://schemas.openxmlformats.org/officeDocument/2006/relationships/slideLayout" Target="../slideLayouts/slideLayout674.xml"/><Relationship Id="rId126" Type="http://schemas.openxmlformats.org/officeDocument/2006/relationships/slideLayout" Target="../slideLayouts/slideLayout695.xml"/><Relationship Id="rId147" Type="http://schemas.openxmlformats.org/officeDocument/2006/relationships/slideLayout" Target="../slideLayouts/slideLayout716.xml"/><Relationship Id="rId168" Type="http://schemas.openxmlformats.org/officeDocument/2006/relationships/slideLayout" Target="../slideLayouts/slideLayout737.xml"/><Relationship Id="rId8" Type="http://schemas.openxmlformats.org/officeDocument/2006/relationships/slideLayout" Target="../slideLayouts/slideLayout577.xml"/><Relationship Id="rId51" Type="http://schemas.openxmlformats.org/officeDocument/2006/relationships/slideLayout" Target="../slideLayouts/slideLayout620.xml"/><Relationship Id="rId72" Type="http://schemas.openxmlformats.org/officeDocument/2006/relationships/slideLayout" Target="../slideLayouts/slideLayout641.xml"/><Relationship Id="rId93" Type="http://schemas.openxmlformats.org/officeDocument/2006/relationships/slideLayout" Target="../slideLayouts/slideLayout662.xml"/><Relationship Id="rId98" Type="http://schemas.openxmlformats.org/officeDocument/2006/relationships/slideLayout" Target="../slideLayouts/slideLayout667.xml"/><Relationship Id="rId121" Type="http://schemas.openxmlformats.org/officeDocument/2006/relationships/slideLayout" Target="../slideLayouts/slideLayout690.xml"/><Relationship Id="rId142" Type="http://schemas.openxmlformats.org/officeDocument/2006/relationships/slideLayout" Target="../slideLayouts/slideLayout711.xml"/><Relationship Id="rId163" Type="http://schemas.openxmlformats.org/officeDocument/2006/relationships/slideLayout" Target="../slideLayouts/slideLayout732.xml"/><Relationship Id="rId184" Type="http://schemas.openxmlformats.org/officeDocument/2006/relationships/slideLayout" Target="../slideLayouts/slideLayout753.xml"/><Relationship Id="rId189" Type="http://schemas.openxmlformats.org/officeDocument/2006/relationships/slideLayout" Target="../slideLayouts/slideLayout758.xml"/><Relationship Id="rId3" Type="http://schemas.openxmlformats.org/officeDocument/2006/relationships/slideLayout" Target="../slideLayouts/slideLayout572.xml"/><Relationship Id="rId25" Type="http://schemas.openxmlformats.org/officeDocument/2006/relationships/slideLayout" Target="../slideLayouts/slideLayout594.xml"/><Relationship Id="rId46" Type="http://schemas.openxmlformats.org/officeDocument/2006/relationships/slideLayout" Target="../slideLayouts/slideLayout615.xml"/><Relationship Id="rId67" Type="http://schemas.openxmlformats.org/officeDocument/2006/relationships/slideLayout" Target="../slideLayouts/slideLayout636.xml"/><Relationship Id="rId116" Type="http://schemas.openxmlformats.org/officeDocument/2006/relationships/slideLayout" Target="../slideLayouts/slideLayout685.xml"/><Relationship Id="rId137" Type="http://schemas.openxmlformats.org/officeDocument/2006/relationships/slideLayout" Target="../slideLayouts/slideLayout706.xml"/><Relationship Id="rId158" Type="http://schemas.openxmlformats.org/officeDocument/2006/relationships/slideLayout" Target="../slideLayouts/slideLayout727.xml"/><Relationship Id="rId20" Type="http://schemas.openxmlformats.org/officeDocument/2006/relationships/slideLayout" Target="../slideLayouts/slideLayout589.xml"/><Relationship Id="rId41" Type="http://schemas.openxmlformats.org/officeDocument/2006/relationships/slideLayout" Target="../slideLayouts/slideLayout610.xml"/><Relationship Id="rId62" Type="http://schemas.openxmlformats.org/officeDocument/2006/relationships/slideLayout" Target="../slideLayouts/slideLayout631.xml"/><Relationship Id="rId83" Type="http://schemas.openxmlformats.org/officeDocument/2006/relationships/slideLayout" Target="../slideLayouts/slideLayout652.xml"/><Relationship Id="rId88" Type="http://schemas.openxmlformats.org/officeDocument/2006/relationships/slideLayout" Target="../slideLayouts/slideLayout657.xml"/><Relationship Id="rId111" Type="http://schemas.openxmlformats.org/officeDocument/2006/relationships/slideLayout" Target="../slideLayouts/slideLayout680.xml"/><Relationship Id="rId132" Type="http://schemas.openxmlformats.org/officeDocument/2006/relationships/slideLayout" Target="../slideLayouts/slideLayout701.xml"/><Relationship Id="rId153" Type="http://schemas.openxmlformats.org/officeDocument/2006/relationships/slideLayout" Target="../slideLayouts/slideLayout722.xml"/><Relationship Id="rId174" Type="http://schemas.openxmlformats.org/officeDocument/2006/relationships/slideLayout" Target="../slideLayouts/slideLayout743.xml"/><Relationship Id="rId179" Type="http://schemas.openxmlformats.org/officeDocument/2006/relationships/slideLayout" Target="../slideLayouts/slideLayout748.xml"/><Relationship Id="rId195" Type="http://schemas.openxmlformats.org/officeDocument/2006/relationships/slideLayout" Target="../slideLayouts/slideLayout764.xml"/><Relationship Id="rId190" Type="http://schemas.openxmlformats.org/officeDocument/2006/relationships/slideLayout" Target="../slideLayouts/slideLayout759.xml"/><Relationship Id="rId15" Type="http://schemas.openxmlformats.org/officeDocument/2006/relationships/slideLayout" Target="../slideLayouts/slideLayout584.xml"/><Relationship Id="rId36" Type="http://schemas.openxmlformats.org/officeDocument/2006/relationships/slideLayout" Target="../slideLayouts/slideLayout605.xml"/><Relationship Id="rId57" Type="http://schemas.openxmlformats.org/officeDocument/2006/relationships/slideLayout" Target="../slideLayouts/slideLayout626.xml"/><Relationship Id="rId106" Type="http://schemas.openxmlformats.org/officeDocument/2006/relationships/slideLayout" Target="../slideLayouts/slideLayout675.xml"/><Relationship Id="rId127" Type="http://schemas.openxmlformats.org/officeDocument/2006/relationships/slideLayout" Target="../slideLayouts/slideLayout696.xml"/><Relationship Id="rId10" Type="http://schemas.openxmlformats.org/officeDocument/2006/relationships/slideLayout" Target="../slideLayouts/slideLayout579.xml"/><Relationship Id="rId31" Type="http://schemas.openxmlformats.org/officeDocument/2006/relationships/slideLayout" Target="../slideLayouts/slideLayout600.xml"/><Relationship Id="rId52" Type="http://schemas.openxmlformats.org/officeDocument/2006/relationships/slideLayout" Target="../slideLayouts/slideLayout621.xml"/><Relationship Id="rId73" Type="http://schemas.openxmlformats.org/officeDocument/2006/relationships/slideLayout" Target="../slideLayouts/slideLayout642.xml"/><Relationship Id="rId78" Type="http://schemas.openxmlformats.org/officeDocument/2006/relationships/slideLayout" Target="../slideLayouts/slideLayout647.xml"/><Relationship Id="rId94" Type="http://schemas.openxmlformats.org/officeDocument/2006/relationships/slideLayout" Target="../slideLayouts/slideLayout663.xml"/><Relationship Id="rId99" Type="http://schemas.openxmlformats.org/officeDocument/2006/relationships/slideLayout" Target="../slideLayouts/slideLayout668.xml"/><Relationship Id="rId101" Type="http://schemas.openxmlformats.org/officeDocument/2006/relationships/slideLayout" Target="../slideLayouts/slideLayout670.xml"/><Relationship Id="rId122" Type="http://schemas.openxmlformats.org/officeDocument/2006/relationships/slideLayout" Target="../slideLayouts/slideLayout691.xml"/><Relationship Id="rId143" Type="http://schemas.openxmlformats.org/officeDocument/2006/relationships/slideLayout" Target="../slideLayouts/slideLayout712.xml"/><Relationship Id="rId148" Type="http://schemas.openxmlformats.org/officeDocument/2006/relationships/slideLayout" Target="../slideLayouts/slideLayout717.xml"/><Relationship Id="rId164" Type="http://schemas.openxmlformats.org/officeDocument/2006/relationships/slideLayout" Target="../slideLayouts/slideLayout733.xml"/><Relationship Id="rId169" Type="http://schemas.openxmlformats.org/officeDocument/2006/relationships/slideLayout" Target="../slideLayouts/slideLayout738.xml"/><Relationship Id="rId185" Type="http://schemas.openxmlformats.org/officeDocument/2006/relationships/slideLayout" Target="../slideLayouts/slideLayout754.xml"/><Relationship Id="rId4" Type="http://schemas.openxmlformats.org/officeDocument/2006/relationships/slideLayout" Target="../slideLayouts/slideLayout573.xml"/><Relationship Id="rId9" Type="http://schemas.openxmlformats.org/officeDocument/2006/relationships/slideLayout" Target="../slideLayouts/slideLayout578.xml"/><Relationship Id="rId180" Type="http://schemas.openxmlformats.org/officeDocument/2006/relationships/slideLayout" Target="../slideLayouts/slideLayout749.xml"/><Relationship Id="rId26" Type="http://schemas.openxmlformats.org/officeDocument/2006/relationships/slideLayout" Target="../slideLayouts/slideLayout595.xml"/><Relationship Id="rId47" Type="http://schemas.openxmlformats.org/officeDocument/2006/relationships/slideLayout" Target="../slideLayouts/slideLayout616.xml"/><Relationship Id="rId68" Type="http://schemas.openxmlformats.org/officeDocument/2006/relationships/slideLayout" Target="../slideLayouts/slideLayout637.xml"/><Relationship Id="rId89" Type="http://schemas.openxmlformats.org/officeDocument/2006/relationships/slideLayout" Target="../slideLayouts/slideLayout658.xml"/><Relationship Id="rId112" Type="http://schemas.openxmlformats.org/officeDocument/2006/relationships/slideLayout" Target="../slideLayouts/slideLayout681.xml"/><Relationship Id="rId133" Type="http://schemas.openxmlformats.org/officeDocument/2006/relationships/slideLayout" Target="../slideLayouts/slideLayout702.xml"/><Relationship Id="rId154" Type="http://schemas.openxmlformats.org/officeDocument/2006/relationships/slideLayout" Target="../slideLayouts/slideLayout723.xml"/><Relationship Id="rId175" Type="http://schemas.openxmlformats.org/officeDocument/2006/relationships/slideLayout" Target="../slideLayouts/slideLayout744.xml"/><Relationship Id="rId196" Type="http://schemas.openxmlformats.org/officeDocument/2006/relationships/slideLayout" Target="../slideLayouts/slideLayout765.xml"/><Relationship Id="rId200" Type="http://schemas.openxmlformats.org/officeDocument/2006/relationships/slideLayout" Target="../slideLayouts/slideLayout769.xml"/><Relationship Id="rId16" Type="http://schemas.openxmlformats.org/officeDocument/2006/relationships/slideLayout" Target="../slideLayouts/slideLayout585.xml"/><Relationship Id="rId37" Type="http://schemas.openxmlformats.org/officeDocument/2006/relationships/slideLayout" Target="../slideLayouts/slideLayout606.xml"/><Relationship Id="rId58" Type="http://schemas.openxmlformats.org/officeDocument/2006/relationships/slideLayout" Target="../slideLayouts/slideLayout627.xml"/><Relationship Id="rId79" Type="http://schemas.openxmlformats.org/officeDocument/2006/relationships/slideLayout" Target="../slideLayouts/slideLayout648.xml"/><Relationship Id="rId102" Type="http://schemas.openxmlformats.org/officeDocument/2006/relationships/slideLayout" Target="../slideLayouts/slideLayout671.xml"/><Relationship Id="rId123" Type="http://schemas.openxmlformats.org/officeDocument/2006/relationships/slideLayout" Target="../slideLayouts/slideLayout692.xml"/><Relationship Id="rId144" Type="http://schemas.openxmlformats.org/officeDocument/2006/relationships/slideLayout" Target="../slideLayouts/slideLayout713.xml"/><Relationship Id="rId90" Type="http://schemas.openxmlformats.org/officeDocument/2006/relationships/slideLayout" Target="../slideLayouts/slideLayout659.xml"/><Relationship Id="rId165" Type="http://schemas.openxmlformats.org/officeDocument/2006/relationships/slideLayout" Target="../slideLayouts/slideLayout734.xml"/><Relationship Id="rId186" Type="http://schemas.openxmlformats.org/officeDocument/2006/relationships/slideLayout" Target="../slideLayouts/slideLayout755.xml"/><Relationship Id="rId27" Type="http://schemas.openxmlformats.org/officeDocument/2006/relationships/slideLayout" Target="../slideLayouts/slideLayout596.xml"/><Relationship Id="rId48" Type="http://schemas.openxmlformats.org/officeDocument/2006/relationships/slideLayout" Target="../slideLayouts/slideLayout617.xml"/><Relationship Id="rId69" Type="http://schemas.openxmlformats.org/officeDocument/2006/relationships/slideLayout" Target="../slideLayouts/slideLayout638.xml"/><Relationship Id="rId113" Type="http://schemas.openxmlformats.org/officeDocument/2006/relationships/slideLayout" Target="../slideLayouts/slideLayout682.xml"/><Relationship Id="rId134" Type="http://schemas.openxmlformats.org/officeDocument/2006/relationships/slideLayout" Target="../slideLayouts/slideLayout703.xml"/><Relationship Id="rId80" Type="http://schemas.openxmlformats.org/officeDocument/2006/relationships/slideLayout" Target="../slideLayouts/slideLayout649.xml"/><Relationship Id="rId155" Type="http://schemas.openxmlformats.org/officeDocument/2006/relationships/slideLayout" Target="../slideLayouts/slideLayout724.xml"/><Relationship Id="rId176" Type="http://schemas.openxmlformats.org/officeDocument/2006/relationships/slideLayout" Target="../slideLayouts/slideLayout745.xml"/><Relationship Id="rId197" Type="http://schemas.openxmlformats.org/officeDocument/2006/relationships/slideLayout" Target="../slideLayouts/slideLayout766.xml"/><Relationship Id="rId201" Type="http://schemas.openxmlformats.org/officeDocument/2006/relationships/slideLayout" Target="../slideLayouts/slideLayout770.xml"/><Relationship Id="rId17" Type="http://schemas.openxmlformats.org/officeDocument/2006/relationships/slideLayout" Target="../slideLayouts/slideLayout586.xml"/><Relationship Id="rId38" Type="http://schemas.openxmlformats.org/officeDocument/2006/relationships/slideLayout" Target="../slideLayouts/slideLayout607.xml"/><Relationship Id="rId59" Type="http://schemas.openxmlformats.org/officeDocument/2006/relationships/slideLayout" Target="../slideLayouts/slideLayout628.xml"/><Relationship Id="rId103" Type="http://schemas.openxmlformats.org/officeDocument/2006/relationships/slideLayout" Target="../slideLayouts/slideLayout672.xml"/><Relationship Id="rId124" Type="http://schemas.openxmlformats.org/officeDocument/2006/relationships/slideLayout" Target="../slideLayouts/slideLayout693.xml"/><Relationship Id="rId70" Type="http://schemas.openxmlformats.org/officeDocument/2006/relationships/slideLayout" Target="../slideLayouts/slideLayout639.xml"/><Relationship Id="rId91" Type="http://schemas.openxmlformats.org/officeDocument/2006/relationships/slideLayout" Target="../slideLayouts/slideLayout660.xml"/><Relationship Id="rId145" Type="http://schemas.openxmlformats.org/officeDocument/2006/relationships/slideLayout" Target="../slideLayouts/slideLayout714.xml"/><Relationship Id="rId166" Type="http://schemas.openxmlformats.org/officeDocument/2006/relationships/slideLayout" Target="../slideLayouts/slideLayout735.xml"/><Relationship Id="rId187" Type="http://schemas.openxmlformats.org/officeDocument/2006/relationships/slideLayout" Target="../slideLayouts/slideLayout756.xml"/><Relationship Id="rId1" Type="http://schemas.openxmlformats.org/officeDocument/2006/relationships/slideLayout" Target="../slideLayouts/slideLayout570.xml"/><Relationship Id="rId28" Type="http://schemas.openxmlformats.org/officeDocument/2006/relationships/slideLayout" Target="../slideLayouts/slideLayout597.xml"/><Relationship Id="rId49" Type="http://schemas.openxmlformats.org/officeDocument/2006/relationships/slideLayout" Target="../slideLayouts/slideLayout618.xml"/><Relationship Id="rId114" Type="http://schemas.openxmlformats.org/officeDocument/2006/relationships/slideLayout" Target="../slideLayouts/slideLayout683.xml"/><Relationship Id="rId60" Type="http://schemas.openxmlformats.org/officeDocument/2006/relationships/slideLayout" Target="../slideLayouts/slideLayout629.xml"/><Relationship Id="rId81" Type="http://schemas.openxmlformats.org/officeDocument/2006/relationships/slideLayout" Target="../slideLayouts/slideLayout650.xml"/><Relationship Id="rId135" Type="http://schemas.openxmlformats.org/officeDocument/2006/relationships/slideLayout" Target="../slideLayouts/slideLayout704.xml"/><Relationship Id="rId156" Type="http://schemas.openxmlformats.org/officeDocument/2006/relationships/slideLayout" Target="../slideLayouts/slideLayout725.xml"/><Relationship Id="rId177" Type="http://schemas.openxmlformats.org/officeDocument/2006/relationships/slideLayout" Target="../slideLayouts/slideLayout746.xml"/><Relationship Id="rId198" Type="http://schemas.openxmlformats.org/officeDocument/2006/relationships/slideLayout" Target="../slideLayouts/slideLayout767.xml"/><Relationship Id="rId202" Type="http://schemas.openxmlformats.org/officeDocument/2006/relationships/slideLayout" Target="../slideLayouts/slideLayout771.xml"/><Relationship Id="rId18" Type="http://schemas.openxmlformats.org/officeDocument/2006/relationships/slideLayout" Target="../slideLayouts/slideLayout587.xml"/><Relationship Id="rId39" Type="http://schemas.openxmlformats.org/officeDocument/2006/relationships/slideLayout" Target="../slideLayouts/slideLayout608.xml"/><Relationship Id="rId50" Type="http://schemas.openxmlformats.org/officeDocument/2006/relationships/slideLayout" Target="../slideLayouts/slideLayout619.xml"/><Relationship Id="rId104" Type="http://schemas.openxmlformats.org/officeDocument/2006/relationships/slideLayout" Target="../slideLayouts/slideLayout673.xml"/><Relationship Id="rId125" Type="http://schemas.openxmlformats.org/officeDocument/2006/relationships/slideLayout" Target="../slideLayouts/slideLayout694.xml"/><Relationship Id="rId146" Type="http://schemas.openxmlformats.org/officeDocument/2006/relationships/slideLayout" Target="../slideLayouts/slideLayout715.xml"/><Relationship Id="rId167" Type="http://schemas.openxmlformats.org/officeDocument/2006/relationships/slideLayout" Target="../slideLayouts/slideLayout736.xml"/><Relationship Id="rId188" Type="http://schemas.openxmlformats.org/officeDocument/2006/relationships/slideLayout" Target="../slideLayouts/slideLayout757.xml"/><Relationship Id="rId71" Type="http://schemas.openxmlformats.org/officeDocument/2006/relationships/slideLayout" Target="../slideLayouts/slideLayout640.xml"/><Relationship Id="rId92" Type="http://schemas.openxmlformats.org/officeDocument/2006/relationships/slideLayout" Target="../slideLayouts/slideLayout6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9.xml"/><Relationship Id="rId3" Type="http://schemas.openxmlformats.org/officeDocument/2006/relationships/slideLayout" Target="../slideLayouts/slideLayout774.xml"/><Relationship Id="rId7" Type="http://schemas.openxmlformats.org/officeDocument/2006/relationships/slideLayout" Target="../slideLayouts/slideLayout77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73.xml"/><Relationship Id="rId1" Type="http://schemas.openxmlformats.org/officeDocument/2006/relationships/slideLayout" Target="../slideLayouts/slideLayout772.xml"/><Relationship Id="rId6" Type="http://schemas.openxmlformats.org/officeDocument/2006/relationships/slideLayout" Target="../slideLayouts/slideLayout777.xml"/><Relationship Id="rId11" Type="http://schemas.openxmlformats.org/officeDocument/2006/relationships/slideLayout" Target="../slideLayouts/slideLayout782.xml"/><Relationship Id="rId5" Type="http://schemas.openxmlformats.org/officeDocument/2006/relationships/slideLayout" Target="../slideLayouts/slideLayout776.xml"/><Relationship Id="rId10" Type="http://schemas.openxmlformats.org/officeDocument/2006/relationships/slideLayout" Target="../slideLayouts/slideLayout781.xml"/><Relationship Id="rId4" Type="http://schemas.openxmlformats.org/officeDocument/2006/relationships/slideLayout" Target="../slideLayouts/slideLayout775.xml"/><Relationship Id="rId9" Type="http://schemas.openxmlformats.org/officeDocument/2006/relationships/slideLayout" Target="../slideLayouts/slideLayout7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0.xml"/><Relationship Id="rId3" Type="http://schemas.openxmlformats.org/officeDocument/2006/relationships/slideLayout" Target="../slideLayouts/slideLayout785.xml"/><Relationship Id="rId7" Type="http://schemas.openxmlformats.org/officeDocument/2006/relationships/slideLayout" Target="../slideLayouts/slideLayout78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784.xml"/><Relationship Id="rId1" Type="http://schemas.openxmlformats.org/officeDocument/2006/relationships/slideLayout" Target="../slideLayouts/slideLayout783.xml"/><Relationship Id="rId6" Type="http://schemas.openxmlformats.org/officeDocument/2006/relationships/slideLayout" Target="../slideLayouts/slideLayout788.xml"/><Relationship Id="rId11" Type="http://schemas.openxmlformats.org/officeDocument/2006/relationships/slideLayout" Target="../slideLayouts/slideLayout793.xml"/><Relationship Id="rId5" Type="http://schemas.openxmlformats.org/officeDocument/2006/relationships/slideLayout" Target="../slideLayouts/slideLayout787.xml"/><Relationship Id="rId10" Type="http://schemas.openxmlformats.org/officeDocument/2006/relationships/slideLayout" Target="../slideLayouts/slideLayout792.xml"/><Relationship Id="rId4" Type="http://schemas.openxmlformats.org/officeDocument/2006/relationships/slideLayout" Target="../slideLayouts/slideLayout786.xml"/><Relationship Id="rId9" Type="http://schemas.openxmlformats.org/officeDocument/2006/relationships/slideLayout" Target="../slideLayouts/slideLayout7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21" r:id="rId1"/>
    <p:sldLayoutId id="2147488622" r:id="rId2"/>
    <p:sldLayoutId id="2147488623" r:id="rId3"/>
    <p:sldLayoutId id="2147488624" r:id="rId4"/>
    <p:sldLayoutId id="2147488625" r:id="rId5"/>
    <p:sldLayoutId id="2147488626" r:id="rId6"/>
    <p:sldLayoutId id="2147488627" r:id="rId7"/>
    <p:sldLayoutId id="2147488628" r:id="rId8"/>
    <p:sldLayoutId id="2147488640" r:id="rId9"/>
    <p:sldLayoutId id="2147483670" r:id="rId10"/>
    <p:sldLayoutId id="2147483671" r:id="rId11"/>
    <p:sldLayoutId id="2147488641" r:id="rId12"/>
    <p:sldLayoutId id="2147488243" r:id="rId13"/>
    <p:sldLayoutId id="2147488242" r:id="rId14"/>
    <p:sldLayoutId id="2147488326" r:id="rId15"/>
    <p:sldLayoutId id="2147488244" r:id="rId16"/>
    <p:sldLayoutId id="214748824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43" r:id="rId1"/>
    <p:sldLayoutId id="2147488644" r:id="rId2"/>
    <p:sldLayoutId id="2147488645" r:id="rId3"/>
    <p:sldLayoutId id="2147488646" r:id="rId4"/>
    <p:sldLayoutId id="2147488647" r:id="rId5"/>
    <p:sldLayoutId id="2147488648" r:id="rId6"/>
    <p:sldLayoutId id="2147488649" r:id="rId7"/>
    <p:sldLayoutId id="2147488650" r:id="rId8"/>
    <p:sldLayoutId id="2147485558" r:id="rId9"/>
    <p:sldLayoutId id="2147485559" r:id="rId10"/>
    <p:sldLayoutId id="2147485560" r:id="rId11"/>
    <p:sldLayoutId id="2147485561" r:id="rId12"/>
    <p:sldLayoutId id="2147485562" r:id="rId13"/>
    <p:sldLayoutId id="2147485563" r:id="rId14"/>
    <p:sldLayoutId id="2147485564" r:id="rId15"/>
    <p:sldLayoutId id="2147485565" r:id="rId16"/>
    <p:sldLayoutId id="2147485566" r:id="rId17"/>
    <p:sldLayoutId id="2147485567" r:id="rId18"/>
    <p:sldLayoutId id="2147485568" r:id="rId19"/>
    <p:sldLayoutId id="2147488642" r:id="rId20"/>
    <p:sldLayoutId id="2147484557" r:id="rId21"/>
    <p:sldLayoutId id="2147484696" r:id="rId22"/>
    <p:sldLayoutId id="2147484656" r:id="rId23"/>
    <p:sldLayoutId id="2147488246" r:id="rId24"/>
    <p:sldLayoutId id="2147488247" r:id="rId25"/>
    <p:sldLayoutId id="2147488248" r:id="rId26"/>
    <p:sldLayoutId id="2147488249" r:id="rId27"/>
    <p:sldLayoutId id="2147488250" r:id="rId28"/>
    <p:sldLayoutId id="2147488251" r:id="rId29"/>
    <p:sldLayoutId id="2147488252" r:id="rId30"/>
    <p:sldLayoutId id="2147487028" r:id="rId31"/>
    <p:sldLayoutId id="2147487029" r:id="rId32"/>
    <p:sldLayoutId id="2147487030" r:id="rId33"/>
    <p:sldLayoutId id="2147487031" r:id="rId34"/>
    <p:sldLayoutId id="2147487032" r:id="rId35"/>
    <p:sldLayoutId id="2147487033" r:id="rId36"/>
    <p:sldLayoutId id="2147487034" r:id="rId37"/>
    <p:sldLayoutId id="2147487035" r:id="rId38"/>
    <p:sldLayoutId id="2147487178" r:id="rId39"/>
    <p:sldLayoutId id="2147488651" r:id="rId40"/>
    <p:sldLayoutId id="2147488652" r:id="rId41"/>
    <p:sldLayoutId id="2147488653" r:id="rId42"/>
    <p:sldLayoutId id="2147488654" r:id="rId43"/>
    <p:sldLayoutId id="2147488655" r:id="rId44"/>
    <p:sldLayoutId id="2147488656" r:id="rId45"/>
    <p:sldLayoutId id="2147488657" r:id="rId46"/>
    <p:sldLayoutId id="2147488658" r:id="rId47"/>
    <p:sldLayoutId id="2147488659" r:id="rId48"/>
    <p:sldLayoutId id="2147488660" r:id="rId49"/>
    <p:sldLayoutId id="2147488661" r:id="rId50"/>
    <p:sldLayoutId id="2147488662" r:id="rId51"/>
    <p:sldLayoutId id="2147488663" r:id="rId52"/>
    <p:sldLayoutId id="2147487180" r:id="rId53"/>
    <p:sldLayoutId id="2147483975" r:id="rId54"/>
    <p:sldLayoutId id="2147487182" r:id="rId55"/>
    <p:sldLayoutId id="2147487183" r:id="rId56"/>
    <p:sldLayoutId id="2147487184" r:id="rId57"/>
    <p:sldLayoutId id="2147487185" r:id="rId58"/>
    <p:sldLayoutId id="2147487040" r:id="rId59"/>
    <p:sldLayoutId id="2147487041" r:id="rId60"/>
    <p:sldLayoutId id="2147487188" r:id="rId61"/>
    <p:sldLayoutId id="2147487189" r:id="rId62"/>
    <p:sldLayoutId id="2147487190" r:id="rId63"/>
    <p:sldLayoutId id="2147487042" r:id="rId64"/>
    <p:sldLayoutId id="2147487192" r:id="rId65"/>
    <p:sldLayoutId id="2147487193" r:id="rId66"/>
    <p:sldLayoutId id="2147487043" r:id="rId67"/>
    <p:sldLayoutId id="2147487044" r:id="rId68"/>
    <p:sldLayoutId id="2147487045" r:id="rId69"/>
    <p:sldLayoutId id="2147487046" r:id="rId70"/>
    <p:sldLayoutId id="2147487047" r:id="rId71"/>
    <p:sldLayoutId id="2147487048" r:id="rId72"/>
    <p:sldLayoutId id="2147487049" r:id="rId73"/>
    <p:sldLayoutId id="2147487050" r:id="rId74"/>
    <p:sldLayoutId id="2147487051" r:id="rId75"/>
    <p:sldLayoutId id="2147488664" r:id="rId76"/>
    <p:sldLayoutId id="2147487052" r:id="rId77"/>
    <p:sldLayoutId id="2147487053" r:id="rId78"/>
    <p:sldLayoutId id="2147487205" r:id="rId79"/>
    <p:sldLayoutId id="2147487209" r:id="rId80"/>
    <p:sldLayoutId id="2147487210" r:id="rId81"/>
    <p:sldLayoutId id="2147487211" r:id="rId82"/>
    <p:sldLayoutId id="2147487212" r:id="rId83"/>
    <p:sldLayoutId id="2147487213" r:id="rId84"/>
    <p:sldLayoutId id="2147487214" r:id="rId85"/>
    <p:sldLayoutId id="2147487224" r:id="rId86"/>
    <p:sldLayoutId id="2147488666" r:id="rId87"/>
    <p:sldLayoutId id="2147487215" r:id="rId88"/>
    <p:sldLayoutId id="2147487226" r:id="rId89"/>
    <p:sldLayoutId id="2147487227" r:id="rId90"/>
    <p:sldLayoutId id="2147487228" r:id="rId91"/>
    <p:sldLayoutId id="2147487229" r:id="rId92"/>
    <p:sldLayoutId id="2147487058" r:id="rId93"/>
    <p:sldLayoutId id="2147487231" r:id="rId94"/>
    <p:sldLayoutId id="2147487232" r:id="rId95"/>
    <p:sldLayoutId id="2147487233" r:id="rId96"/>
    <p:sldLayoutId id="2147487234" r:id="rId97"/>
    <p:sldLayoutId id="2147487235" r:id="rId98"/>
    <p:sldLayoutId id="2147487236" r:id="rId99"/>
    <p:sldLayoutId id="2147487237" r:id="rId100"/>
    <p:sldLayoutId id="2147487059" r:id="rId101"/>
    <p:sldLayoutId id="2147487060" r:id="rId102"/>
    <p:sldLayoutId id="2147487061" r:id="rId103"/>
    <p:sldLayoutId id="2147487062" r:id="rId104"/>
    <p:sldLayoutId id="2147487242" r:id="rId105"/>
    <p:sldLayoutId id="2147487063" r:id="rId106"/>
    <p:sldLayoutId id="2147487244" r:id="rId107"/>
    <p:sldLayoutId id="2147487245" r:id="rId108"/>
    <p:sldLayoutId id="2147487246" r:id="rId109"/>
    <p:sldLayoutId id="2147487064" r:id="rId110"/>
    <p:sldLayoutId id="2147487248" r:id="rId111"/>
    <p:sldLayoutId id="2147487249" r:id="rId112"/>
    <p:sldLayoutId id="2147487250" r:id="rId113"/>
    <p:sldLayoutId id="2147487251" r:id="rId114"/>
    <p:sldLayoutId id="2147487252" r:id="rId115"/>
    <p:sldLayoutId id="2147487253" r:id="rId116"/>
    <p:sldLayoutId id="2147487065" r:id="rId117"/>
    <p:sldLayoutId id="2147487066" r:id="rId118"/>
    <p:sldLayoutId id="2147487067" r:id="rId119"/>
    <p:sldLayoutId id="2147487068" r:id="rId120"/>
    <p:sldLayoutId id="2147487069" r:id="rId121"/>
    <p:sldLayoutId id="2147487070" r:id="rId122"/>
    <p:sldLayoutId id="2147487071" r:id="rId123"/>
    <p:sldLayoutId id="2147487072" r:id="rId124"/>
    <p:sldLayoutId id="2147487073" r:id="rId125"/>
    <p:sldLayoutId id="2147487074" r:id="rId126"/>
    <p:sldLayoutId id="2147487075" r:id="rId127"/>
    <p:sldLayoutId id="2147487155" r:id="rId128"/>
    <p:sldLayoutId id="2147487265" r:id="rId129"/>
    <p:sldLayoutId id="2147487266" r:id="rId130"/>
    <p:sldLayoutId id="2147487076" r:id="rId131"/>
    <p:sldLayoutId id="2147487078" r:id="rId132"/>
    <p:sldLayoutId id="2147487270" r:id="rId133"/>
    <p:sldLayoutId id="2147487271" r:id="rId134"/>
    <p:sldLayoutId id="2147487272" r:id="rId135"/>
    <p:sldLayoutId id="2147487273" r:id="rId136"/>
    <p:sldLayoutId id="2147487274" r:id="rId137"/>
    <p:sldLayoutId id="2147487275" r:id="rId138"/>
    <p:sldLayoutId id="2147487276" r:id="rId139"/>
    <p:sldLayoutId id="2147487277" r:id="rId140"/>
    <p:sldLayoutId id="2147487079" r:id="rId141"/>
    <p:sldLayoutId id="2147487080" r:id="rId142"/>
    <p:sldLayoutId id="2147487081" r:id="rId143"/>
    <p:sldLayoutId id="2147487082" r:id="rId144"/>
    <p:sldLayoutId id="2147487083" r:id="rId145"/>
    <p:sldLayoutId id="2147487084" r:id="rId146"/>
    <p:sldLayoutId id="2147487085" r:id="rId147"/>
    <p:sldLayoutId id="2147487086" r:id="rId148"/>
    <p:sldLayoutId id="2147487087" r:id="rId149"/>
    <p:sldLayoutId id="2147487088" r:id="rId150"/>
    <p:sldLayoutId id="2147487089" r:id="rId151"/>
    <p:sldLayoutId id="2147487090" r:id="rId152"/>
    <p:sldLayoutId id="2147487290" r:id="rId153"/>
    <p:sldLayoutId id="2147487291" r:id="rId154"/>
    <p:sldLayoutId id="2147487292" r:id="rId155"/>
    <p:sldLayoutId id="2147487294" r:id="rId156"/>
    <p:sldLayoutId id="2147487295" r:id="rId157"/>
    <p:sldLayoutId id="2147487296" r:id="rId158"/>
    <p:sldLayoutId id="2147487297" r:id="rId159"/>
    <p:sldLayoutId id="2147487298" r:id="rId160"/>
    <p:sldLayoutId id="2147487300" r:id="rId161"/>
    <p:sldLayoutId id="2147487092" r:id="rId162"/>
    <p:sldLayoutId id="2147487311" r:id="rId163"/>
    <p:sldLayoutId id="2147487116" r:id="rId164"/>
    <p:sldLayoutId id="2147487117" r:id="rId165"/>
    <p:sldLayoutId id="2147487096" r:id="rId166"/>
    <p:sldLayoutId id="2147487098" r:id="rId167"/>
    <p:sldLayoutId id="2147487099" r:id="rId168"/>
    <p:sldLayoutId id="2147487104" r:id="rId169"/>
    <p:sldLayoutId id="2147487326" r:id="rId170"/>
    <p:sldLayoutId id="2147487105" r:id="rId171"/>
    <p:sldLayoutId id="2147487106" r:id="rId172"/>
    <p:sldLayoutId id="2147487107" r:id="rId173"/>
    <p:sldLayoutId id="2147487108" r:id="rId174"/>
    <p:sldLayoutId id="2147487109" r:id="rId175"/>
    <p:sldLayoutId id="2147487110" r:id="rId176"/>
    <p:sldLayoutId id="2147487111" r:id="rId177"/>
    <p:sldLayoutId id="2147487112" r:id="rId178"/>
    <p:sldLayoutId id="2147487113" r:id="rId179"/>
    <p:sldLayoutId id="2147487120" r:id="rId180"/>
    <p:sldLayoutId id="2147487121" r:id="rId181"/>
    <p:sldLayoutId id="2147487122" r:id="rId182"/>
    <p:sldLayoutId id="2147487123" r:id="rId183"/>
    <p:sldLayoutId id="2147487346" r:id="rId184"/>
    <p:sldLayoutId id="2147487124" r:id="rId185"/>
    <p:sldLayoutId id="2147487348" r:id="rId186"/>
    <p:sldLayoutId id="2147487349" r:id="rId187"/>
    <p:sldLayoutId id="2147488352" r:id="rId188"/>
    <p:sldLayoutId id="2147488353" r:id="rId189"/>
    <p:sldLayoutId id="2147483849" r:id="rId190"/>
    <p:sldLayoutId id="2147483850" r:id="rId191"/>
    <p:sldLayoutId id="2147483851" r:id="rId192"/>
    <p:sldLayoutId id="2147483852" r:id="rId193"/>
    <p:sldLayoutId id="2147483853" r:id="rId194"/>
    <p:sldLayoutId id="2147483854" r:id="rId195"/>
    <p:sldLayoutId id="2147483855" r:id="rId196"/>
    <p:sldLayoutId id="2147483856" r:id="rId197"/>
    <p:sldLayoutId id="2147483857" r:id="rId198"/>
    <p:sldLayoutId id="2147483858" r:id="rId199"/>
    <p:sldLayoutId id="2147483859" r:id="rId200"/>
    <p:sldLayoutId id="2147487005" r:id="rId201"/>
    <p:sldLayoutId id="2147483861" r:id="rId202"/>
    <p:sldLayoutId id="2147483872" r:id="rId203"/>
    <p:sldLayoutId id="2147483874" r:id="rId204"/>
    <p:sldLayoutId id="2147483875" r:id="rId205"/>
    <p:sldLayoutId id="2147483876" r:id="rId206"/>
    <p:sldLayoutId id="2147488384" r:id="rId207"/>
    <p:sldLayoutId id="2147488385" r:id="rId208"/>
    <p:sldLayoutId id="2147483879" r:id="rId209"/>
    <p:sldLayoutId id="2147483880" r:id="rId210"/>
    <p:sldLayoutId id="2147483881" r:id="rId211"/>
    <p:sldLayoutId id="2147483882" r:id="rId212"/>
    <p:sldLayoutId id="2147483883" r:id="rId213"/>
    <p:sldLayoutId id="2147483884" r:id="rId214"/>
    <p:sldLayoutId id="2147483885" r:id="rId215"/>
    <p:sldLayoutId id="2147483886" r:id="rId216"/>
    <p:sldLayoutId id="2147483887" r:id="rId217"/>
    <p:sldLayoutId id="2147483888" r:id="rId218"/>
    <p:sldLayoutId id="2147483889" r:id="rId219"/>
    <p:sldLayoutId id="2147483890" r:id="rId220"/>
    <p:sldLayoutId id="2147483891" r:id="rId221"/>
    <p:sldLayoutId id="2147483892" r:id="rId222"/>
    <p:sldLayoutId id="2147483893" r:id="rId223"/>
    <p:sldLayoutId id="2147483894" r:id="rId224"/>
    <p:sldLayoutId id="2147483895" r:id="rId225"/>
    <p:sldLayoutId id="2147488668" r:id="rId226"/>
    <p:sldLayoutId id="2147488669" r:id="rId227"/>
    <p:sldLayoutId id="2147488670" r:id="rId228"/>
    <p:sldLayoutId id="2147488671" r:id="rId229"/>
    <p:sldLayoutId id="2147483896" r:id="rId230"/>
    <p:sldLayoutId id="2147483901" r:id="rId231"/>
    <p:sldLayoutId id="2147483902" r:id="rId232"/>
    <p:sldLayoutId id="2147483903" r:id="rId233"/>
    <p:sldLayoutId id="2147483904" r:id="rId234"/>
    <p:sldLayoutId id="2147483905" r:id="rId235"/>
    <p:sldLayoutId id="2147483906" r:id="rId236"/>
    <p:sldLayoutId id="2147483907" r:id="rId237"/>
    <p:sldLayoutId id="2147487132" r:id="rId238"/>
    <p:sldLayoutId id="2147487133" r:id="rId239"/>
    <p:sldLayoutId id="2147487134" r:id="rId240"/>
    <p:sldLayoutId id="2147487135" r:id="rId241"/>
    <p:sldLayoutId id="2147487136" r:id="rId242"/>
    <p:sldLayoutId id="2147487137" r:id="rId243"/>
    <p:sldLayoutId id="2147487138" r:id="rId244"/>
    <p:sldLayoutId id="2147487139" r:id="rId245"/>
    <p:sldLayoutId id="2147487140" r:id="rId246"/>
    <p:sldLayoutId id="2147487141" r:id="rId247"/>
    <p:sldLayoutId id="2147483934" r:id="rId248"/>
    <p:sldLayoutId id="2147483935" r:id="rId249"/>
    <p:sldLayoutId id="2147483936" r:id="rId250"/>
    <p:sldLayoutId id="2147488345" r:id="rId251"/>
    <p:sldLayoutId id="2147486987" r:id="rId252"/>
    <p:sldLayoutId id="2147487355" r:id="rId253"/>
    <p:sldLayoutId id="2147487369" r:id="rId254"/>
    <p:sldLayoutId id="2147487356" r:id="rId255"/>
    <p:sldLayoutId id="2147487357" r:id="rId256"/>
    <p:sldLayoutId id="2147487358" r:id="rId257"/>
    <p:sldLayoutId id="2147485077" r:id="rId258"/>
    <p:sldLayoutId id="2147484851" r:id="rId259"/>
    <p:sldLayoutId id="2147486926" r:id="rId260"/>
    <p:sldLayoutId id="2147487362" r:id="rId261"/>
    <p:sldLayoutId id="2147487360" r:id="rId262"/>
    <p:sldLayoutId id="2147488346" r:id="rId263"/>
    <p:sldLayoutId id="2147486423" r:id="rId264"/>
    <p:sldLayoutId id="2147486950" r:id="rId265"/>
    <p:sldLayoutId id="2147487359" r:id="rId266"/>
    <p:sldLayoutId id="2147487361" r:id="rId267"/>
    <p:sldLayoutId id="2147484627" r:id="rId268"/>
    <p:sldLayoutId id="2147485879" r:id="rId269"/>
    <p:sldLayoutId id="2147484838" r:id="rId270"/>
    <p:sldLayoutId id="2147485857" r:id="rId271"/>
    <p:sldLayoutId id="2147485858" r:id="rId272"/>
    <p:sldLayoutId id="2147485859" r:id="rId273"/>
    <p:sldLayoutId id="2147485860" r:id="rId274"/>
    <p:sldLayoutId id="2147485861" r:id="rId275"/>
    <p:sldLayoutId id="2147484634" r:id="rId276"/>
    <p:sldLayoutId id="2147484635" r:id="rId277"/>
    <p:sldLayoutId id="2147484238" r:id="rId278"/>
    <p:sldLayoutId id="2147486915" r:id="rId279"/>
    <p:sldLayoutId id="2147484840" r:id="rId280"/>
    <p:sldLayoutId id="2147486917" r:id="rId281"/>
    <p:sldLayoutId id="2147484203" r:id="rId282"/>
    <p:sldLayoutId id="2147484204" r:id="rId283"/>
    <p:sldLayoutId id="2147484205" r:id="rId284"/>
    <p:sldLayoutId id="2147484206" r:id="rId285"/>
    <p:sldLayoutId id="2147484237" r:id="rId286"/>
    <p:sldLayoutId id="2147484208" r:id="rId287"/>
    <p:sldLayoutId id="2147485064" r:id="rId288"/>
    <p:sldLayoutId id="2147485065" r:id="rId289"/>
    <p:sldLayoutId id="2147486965" r:id="rId290"/>
    <p:sldLayoutId id="2147484682" r:id="rId291"/>
    <p:sldLayoutId id="2147484683" r:id="rId292"/>
    <p:sldLayoutId id="2147484684" r:id="rId293"/>
    <p:sldLayoutId id="2147486989" r:id="rId294"/>
    <p:sldLayoutId id="2147485573" r:id="rId295"/>
    <p:sldLayoutId id="2147485574" r:id="rId296"/>
    <p:sldLayoutId id="2147483760" r:id="rId297"/>
    <p:sldLayoutId id="2147484686" r:id="rId298"/>
    <p:sldLayoutId id="2147484687" r:id="rId299"/>
    <p:sldLayoutId id="2147484688" r:id="rId300"/>
    <p:sldLayoutId id="2147484689" r:id="rId301"/>
    <p:sldLayoutId id="2147484690" r:id="rId302"/>
    <p:sldLayoutId id="2147484691" r:id="rId303"/>
    <p:sldLayoutId id="2147485575" r:id="rId304"/>
    <p:sldLayoutId id="2147485577" r:id="rId305"/>
    <p:sldLayoutId id="2147488277" r:id="rId306"/>
    <p:sldLayoutId id="2147488278" r:id="rId307"/>
    <p:sldLayoutId id="2147488279" r:id="rId308"/>
    <p:sldLayoutId id="2147485578" r:id="rId309"/>
    <p:sldLayoutId id="2147485579" r:id="rId310"/>
    <p:sldLayoutId id="2147488280" r:id="rId311"/>
    <p:sldLayoutId id="2147488281" r:id="rId312"/>
    <p:sldLayoutId id="2147488282" r:id="rId313"/>
    <p:sldLayoutId id="2147488283" r:id="rId314"/>
    <p:sldLayoutId id="2147488284" r:id="rId315"/>
    <p:sldLayoutId id="2147488285" r:id="rId316"/>
    <p:sldLayoutId id="2147485066" r:id="rId317"/>
    <p:sldLayoutId id="2147485067" r:id="rId318"/>
    <p:sldLayoutId id="2147485068" r:id="rId319"/>
    <p:sldLayoutId id="2147485069" r:id="rId320"/>
    <p:sldLayoutId id="2147485352" r:id="rId321"/>
    <p:sldLayoutId id="2147485070" r:id="rId322"/>
    <p:sldLayoutId id="2147486030" r:id="rId323"/>
    <p:sldLayoutId id="2147485071" r:id="rId324"/>
    <p:sldLayoutId id="2147484626" r:id="rId325"/>
    <p:sldLayoutId id="2147484839" r:id="rId326"/>
    <p:sldLayoutId id="2147485847" r:id="rId327"/>
    <p:sldLayoutId id="2147485848" r:id="rId328"/>
    <p:sldLayoutId id="2147485849" r:id="rId329"/>
    <p:sldLayoutId id="2147485850" r:id="rId330"/>
    <p:sldLayoutId id="2147485851" r:id="rId331"/>
    <p:sldLayoutId id="2147485852" r:id="rId332"/>
    <p:sldLayoutId id="2147485853" r:id="rId333"/>
    <p:sldLayoutId id="2147485854" r:id="rId334"/>
    <p:sldLayoutId id="2147485855" r:id="rId335"/>
    <p:sldLayoutId id="2147485856" r:id="rId336"/>
    <p:sldLayoutId id="2147484384" r:id="rId337"/>
    <p:sldLayoutId id="2147485405" r:id="rId338"/>
    <p:sldLayoutId id="2147484559" r:id="rId339"/>
    <p:sldLayoutId id="2147484385" r:id="rId340"/>
    <p:sldLayoutId id="2147485406" r:id="rId341"/>
    <p:sldLayoutId id="2147484387" r:id="rId342"/>
    <p:sldLayoutId id="2147484388" r:id="rId343"/>
    <p:sldLayoutId id="2147484389" r:id="rId344"/>
    <p:sldLayoutId id="2147484390" r:id="rId345"/>
    <p:sldLayoutId id="2147484391" r:id="rId346"/>
    <p:sldLayoutId id="2147484392" r:id="rId347"/>
    <p:sldLayoutId id="2147486200" r:id="rId348"/>
    <p:sldLayoutId id="2147485878" r:id="rId349"/>
    <p:sldLayoutId id="2147484654" r:id="rId350"/>
    <p:sldLayoutId id="2147484655" r:id="rId351"/>
    <p:sldLayoutId id="2147484692" r:id="rId352"/>
    <p:sldLayoutId id="2147483752" r:id="rId353"/>
    <p:sldLayoutId id="2147483753" r:id="rId354"/>
    <p:sldLayoutId id="2147483754" r:id="rId355"/>
    <p:sldLayoutId id="2147483755" r:id="rId356"/>
    <p:sldLayoutId id="2147484608" r:id="rId357"/>
    <p:sldLayoutId id="2147485213" r:id="rId358"/>
    <p:sldLayoutId id="2147485214" r:id="rId359"/>
    <p:sldLayoutId id="2147485179" r:id="rId360"/>
    <p:sldLayoutId id="2147486360" r:id="rId361"/>
    <p:sldLayoutId id="2147488297" r:id="rId362"/>
    <p:sldLayoutId id="2147486361" r:id="rId363"/>
    <p:sldLayoutId id="2147484335" r:id="rId364"/>
    <p:sldLayoutId id="2147484336" r:id="rId365"/>
    <p:sldLayoutId id="2147484337" r:id="rId366"/>
    <p:sldLayoutId id="2147484853" r:id="rId367"/>
    <p:sldLayoutId id="2147484339" r:id="rId368"/>
    <p:sldLayoutId id="2147484340" r:id="rId369"/>
    <p:sldLayoutId id="2147484341" r:id="rId370"/>
    <p:sldLayoutId id="2147484342" r:id="rId371"/>
    <p:sldLayoutId id="2147484343" r:id="rId372"/>
    <p:sldLayoutId id="2147484344" r:id="rId373"/>
    <p:sldLayoutId id="2147483877" r:id="rId374"/>
    <p:sldLayoutId id="2147483677" r:id="rId375"/>
    <p:sldLayoutId id="2147487353" r:id="rId376"/>
    <p:sldLayoutId id="2147487354" r:id="rId377"/>
    <p:sldLayoutId id="2147488306" r:id="rId378"/>
    <p:sldLayoutId id="2147486396" r:id="rId379"/>
    <p:sldLayoutId id="2147486397" r:id="rId380"/>
    <p:sldLayoutId id="2147486418" r:id="rId381"/>
    <p:sldLayoutId id="2147485468" r:id="rId382"/>
    <p:sldLayoutId id="2147485865" r:id="rId383"/>
    <p:sldLayoutId id="2147484364" r:id="rId384"/>
    <p:sldLayoutId id="2147485358" r:id="rId385"/>
    <p:sldLayoutId id="2147485868" r:id="rId386"/>
    <p:sldLayoutId id="2147485869" r:id="rId387"/>
    <p:sldLayoutId id="2147485870" r:id="rId388"/>
    <p:sldLayoutId id="2147485385" r:id="rId389"/>
    <p:sldLayoutId id="2147485871" r:id="rId390"/>
    <p:sldLayoutId id="2147485469" r:id="rId391"/>
    <p:sldLayoutId id="2147484570" r:id="rId392"/>
    <p:sldLayoutId id="2147484222" r:id="rId393"/>
    <p:sldLayoutId id="2147484854" r:id="rId394"/>
    <p:sldLayoutId id="2147484852" r:id="rId395"/>
    <p:sldLayoutId id="2147485093" r:id="rId396"/>
    <p:sldLayoutId id="2147485072" r:id="rId397"/>
    <p:sldLayoutId id="2147485355" r:id="rId398"/>
    <p:sldLayoutId id="2147484355" r:id="rId399"/>
    <p:sldLayoutId id="2147485444" r:id="rId400"/>
    <p:sldLayoutId id="2147484356" r:id="rId401"/>
    <p:sldLayoutId id="2147488684" r:id="rId402"/>
    <p:sldLayoutId id="2147483860" r:id="rId403"/>
    <p:sldLayoutId id="2147484357" r:id="rId404"/>
    <p:sldLayoutId id="2147484358" r:id="rId405"/>
    <p:sldLayoutId id="2147484359" r:id="rId406"/>
    <p:sldLayoutId id="2147484360" r:id="rId407"/>
    <p:sldLayoutId id="2147484361" r:id="rId408"/>
    <p:sldLayoutId id="2147484393" r:id="rId409"/>
    <p:sldLayoutId id="2147484394" r:id="rId410"/>
    <p:sldLayoutId id="2147484566" r:id="rId411"/>
    <p:sldLayoutId id="2147485470" r:id="rId412"/>
    <p:sldLayoutId id="2147484231" r:id="rId413"/>
    <p:sldLayoutId id="2147484268" r:id="rId414"/>
    <p:sldLayoutId id="2147484235" r:id="rId415"/>
    <p:sldLayoutId id="2147484847" r:id="rId416"/>
    <p:sldLayoutId id="2147484245" r:id="rId417"/>
    <p:sldLayoutId id="2147484262" r:id="rId418"/>
    <p:sldLayoutId id="2147486955" r:id="rId419"/>
    <p:sldLayoutId id="2147485238" r:id="rId420"/>
    <p:sldLayoutId id="2147486956" r:id="rId421"/>
    <p:sldLayoutId id="2147484233" r:id="rId422"/>
    <p:sldLayoutId id="2147486948" r:id="rId423"/>
    <p:sldLayoutId id="2147484774" r:id="rId424"/>
    <p:sldLayoutId id="2147484775" r:id="rId425"/>
    <p:sldLayoutId id="2147486425" r:id="rId426"/>
    <p:sldLayoutId id="2147484776" r:id="rId427"/>
    <p:sldLayoutId id="2147484777" r:id="rId428"/>
    <p:sldLayoutId id="2147486387" r:id="rId429"/>
    <p:sldLayoutId id="2147486389" r:id="rId430"/>
    <p:sldLayoutId id="2147486391" r:id="rId431"/>
    <p:sldLayoutId id="2147486949" r:id="rId432"/>
    <p:sldLayoutId id="2147486424" r:id="rId433"/>
    <p:sldLayoutId id="2147486251" r:id="rId434"/>
    <p:sldLayoutId id="2147484334" r:id="rId435"/>
    <p:sldLayoutId id="2147487351" r:id="rId436"/>
    <p:sldLayoutId id="2147486990" r:id="rId437"/>
    <p:sldLayoutId id="2147484585" r:id="rId438"/>
    <p:sldLayoutId id="2147484586" r:id="rId439"/>
    <p:sldLayoutId id="2147484587" r:id="rId440"/>
    <p:sldLayoutId id="2147484588" r:id="rId441"/>
    <p:sldLayoutId id="2147484592" r:id="rId442"/>
    <p:sldLayoutId id="2147488383" r:id="rId443"/>
    <p:sldLayoutId id="2147484594" r:id="rId444"/>
    <p:sldLayoutId id="2147487156" r:id="rId445"/>
    <p:sldLayoutId id="2147485370" r:id="rId446"/>
    <p:sldLayoutId id="2147485872" r:id="rId447"/>
    <p:sldLayoutId id="2147486927" r:id="rId448"/>
    <p:sldLayoutId id="2147485367" r:id="rId449"/>
    <p:sldLayoutId id="2147485368" r:id="rId450"/>
    <p:sldLayoutId id="2147485369" r:id="rId451"/>
    <p:sldLayoutId id="2147485400" r:id="rId452"/>
    <p:sldLayoutId id="2147485401" r:id="rId453"/>
    <p:sldLayoutId id="2147485402" r:id="rId454"/>
    <p:sldLayoutId id="2147485403" r:id="rId455"/>
    <p:sldLayoutId id="2147488347" r:id="rId456"/>
    <p:sldLayoutId id="2147484477" r:id="rId457"/>
    <p:sldLayoutId id="2147484478" r:id="rId458"/>
    <p:sldLayoutId id="2147484260" r:id="rId459"/>
    <p:sldLayoutId id="2147484856" r:id="rId460"/>
    <p:sldLayoutId id="2147484480" r:id="rId461"/>
    <p:sldLayoutId id="2147484267" r:id="rId462"/>
    <p:sldLayoutId id="2147484481" r:id="rId463"/>
    <p:sldLayoutId id="2147484482" r:id="rId464"/>
    <p:sldLayoutId id="2147484483" r:id="rId465"/>
    <p:sldLayoutId id="2147484484" r:id="rId466"/>
    <p:sldLayoutId id="2147486991" r:id="rId467"/>
    <p:sldLayoutId id="2147486992" r:id="rId468"/>
    <p:sldLayoutId id="2147486252" r:id="rId469"/>
    <p:sldLayoutId id="2147486253" r:id="rId470"/>
    <p:sldLayoutId id="2147486363" r:id="rId471"/>
    <p:sldLayoutId id="2147487006" r:id="rId472"/>
    <p:sldLayoutId id="2147486364" r:id="rId473"/>
    <p:sldLayoutId id="2147486365" r:id="rId474"/>
    <p:sldLayoutId id="2147487007" r:id="rId475"/>
    <p:sldLayoutId id="2147488386" r:id="rId476"/>
    <p:sldLayoutId id="2147486366" r:id="rId477"/>
    <p:sldLayoutId id="2147483940" r:id="rId478"/>
    <p:sldLayoutId id="2147486367" r:id="rId479"/>
    <p:sldLayoutId id="2147486368" r:id="rId480"/>
    <p:sldLayoutId id="2147486369" r:id="rId481"/>
    <p:sldLayoutId id="2147483944" r:id="rId482"/>
    <p:sldLayoutId id="2147483945" r:id="rId483"/>
    <p:sldLayoutId id="2147483949" r:id="rId484"/>
    <p:sldLayoutId id="2147483954" r:id="rId485"/>
    <p:sldLayoutId id="2147483955" r:id="rId486"/>
    <p:sldLayoutId id="2147483967" r:id="rId487"/>
    <p:sldLayoutId id="2147483968" r:id="rId488"/>
    <p:sldLayoutId id="2147483969" r:id="rId489"/>
    <p:sldLayoutId id="2147483971" r:id="rId490"/>
    <p:sldLayoutId id="2147483972" r:id="rId491"/>
    <p:sldLayoutId id="2147483973" r:id="rId492"/>
    <p:sldLayoutId id="2147483976" r:id="rId493"/>
    <p:sldLayoutId id="2147483977" r:id="rId494"/>
    <p:sldLayoutId id="2147483978" r:id="rId495"/>
    <p:sldLayoutId id="2147483984" r:id="rId496"/>
    <p:sldLayoutId id="2147483985" r:id="rId497"/>
    <p:sldLayoutId id="2147483986" r:id="rId498"/>
    <p:sldLayoutId id="2147483987" r:id="rId499"/>
    <p:sldLayoutId id="2147483988" r:id="rId500"/>
    <p:sldLayoutId id="2147483989" r:id="rId501"/>
    <p:sldLayoutId id="2147483990" r:id="rId502"/>
    <p:sldLayoutId id="2147483991" r:id="rId503"/>
    <p:sldLayoutId id="2147483992" r:id="rId504"/>
    <p:sldLayoutId id="2147483993" r:id="rId505"/>
    <p:sldLayoutId id="2147483994" r:id="rId506"/>
    <p:sldLayoutId id="2147483995" r:id="rId507"/>
    <p:sldLayoutId id="2147483996" r:id="rId508"/>
    <p:sldLayoutId id="2147483997" r:id="rId509"/>
    <p:sldLayoutId id="2147483998" r:id="rId510"/>
    <p:sldLayoutId id="2147483999" r:id="rId511"/>
    <p:sldLayoutId id="2147484000" r:id="rId512"/>
    <p:sldLayoutId id="2147484001" r:id="rId513"/>
    <p:sldLayoutId id="2147484652" r:id="rId514"/>
    <p:sldLayoutId id="2147484653" r:id="rId515"/>
    <p:sldLayoutId id="2147487008" r:id="rId516"/>
    <p:sldLayoutId id="2147487009" r:id="rId517"/>
    <p:sldLayoutId id="2147488686" r:id="rId518"/>
    <p:sldLayoutId id="2147487010" r:id="rId519"/>
    <p:sldLayoutId id="2147488387" r:id="rId520"/>
    <p:sldLayoutId id="2147487011" r:id="rId521"/>
    <p:sldLayoutId id="2147487012" r:id="rId522"/>
    <p:sldLayoutId id="2147487013" r:id="rId523"/>
    <p:sldLayoutId id="2147484999" r:id="rId524"/>
    <p:sldLayoutId id="2147485001" r:id="rId525"/>
    <p:sldLayoutId id="2147485002" r:id="rId526"/>
    <p:sldLayoutId id="2147485006" r:id="rId527"/>
    <p:sldLayoutId id="2147485007" r:id="rId528"/>
    <p:sldLayoutId id="2147485008" r:id="rId529"/>
    <p:sldLayoutId id="2147488239" r:id="rId530"/>
    <p:sldLayoutId id="2147485425" r:id="rId531"/>
    <p:sldLayoutId id="2147485903" r:id="rId532"/>
    <p:sldLayoutId id="2147485904" r:id="rId533"/>
    <p:sldLayoutId id="2147484354" r:id="rId534"/>
    <p:sldLayoutId id="2147484572" r:id="rId535"/>
    <p:sldLayoutId id="2147485391" r:id="rId536"/>
    <p:sldLayoutId id="2147485392" r:id="rId537"/>
    <p:sldLayoutId id="2147484376" r:id="rId538"/>
    <p:sldLayoutId id="2147485905" r:id="rId539"/>
    <p:sldLayoutId id="2147485906" r:id="rId540"/>
    <p:sldLayoutId id="2147485880" r:id="rId541"/>
    <p:sldLayoutId id="2147485393" r:id="rId542"/>
    <p:sldLayoutId id="2147485394" r:id="rId543"/>
    <p:sldLayoutId id="2147485395" r:id="rId544"/>
    <p:sldLayoutId id="2147486284" r:id="rId545"/>
    <p:sldLayoutId id="2147484378" r:id="rId546"/>
    <p:sldLayoutId id="2147484379" r:id="rId547"/>
    <p:sldLayoutId id="2147485396" r:id="rId548"/>
    <p:sldLayoutId id="2147488079" r:id="rId549"/>
    <p:sldLayoutId id="2147488688" r:id="rId550"/>
    <p:sldLayoutId id="2147488240" r:id="rId551"/>
    <p:sldLayoutId id="2147488241" r:id="rId55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8373" r:id="rId1"/>
    <p:sldLayoutId id="2147488374" r:id="rId2"/>
    <p:sldLayoutId id="2147488375" r:id="rId3"/>
    <p:sldLayoutId id="2147488376" r:id="rId4"/>
    <p:sldLayoutId id="2147488377" r:id="rId5"/>
    <p:sldLayoutId id="2147488378" r:id="rId6"/>
    <p:sldLayoutId id="2147488379" r:id="rId7"/>
    <p:sldLayoutId id="2147488380" r:id="rId8"/>
    <p:sldLayoutId id="2147488381" r:id="rId9"/>
    <p:sldLayoutId id="2147488382" r:id="rId10"/>
    <p:sldLayoutId id="2147488312" r:id="rId11"/>
    <p:sldLayoutId id="2147488327" r:id="rId12"/>
    <p:sldLayoutId id="2147488328" r:id="rId13"/>
    <p:sldLayoutId id="2147488329" r:id="rId14"/>
    <p:sldLayoutId id="2147488330" r:id="rId15"/>
    <p:sldLayoutId id="2147488331" r:id="rId16"/>
    <p:sldLayoutId id="2147488332" r:id="rId17"/>
    <p:sldLayoutId id="2147488333" r:id="rId18"/>
    <p:sldLayoutId id="2147488334" r:id="rId19"/>
    <p:sldLayoutId id="2147488335" r:id="rId20"/>
    <p:sldLayoutId id="2147488336" r:id="rId21"/>
    <p:sldLayoutId id="2147488337" r:id="rId22"/>
    <p:sldLayoutId id="2147488394" r:id="rId23"/>
    <p:sldLayoutId id="2147488395" r:id="rId24"/>
    <p:sldLayoutId id="2147488396" r:id="rId25"/>
    <p:sldLayoutId id="2147488323" r:id="rId26"/>
    <p:sldLayoutId id="2147488397" r:id="rId27"/>
    <p:sldLayoutId id="2147488398" r:id="rId28"/>
    <p:sldLayoutId id="2147488399" r:id="rId29"/>
    <p:sldLayoutId id="2147488400" r:id="rId30"/>
    <p:sldLayoutId id="2147488401" r:id="rId31"/>
    <p:sldLayoutId id="2147488402" r:id="rId32"/>
    <p:sldLayoutId id="2147488403" r:id="rId33"/>
    <p:sldLayoutId id="2147488404" r:id="rId34"/>
    <p:sldLayoutId id="2147488405" r:id="rId35"/>
    <p:sldLayoutId id="2147488406" r:id="rId36"/>
    <p:sldLayoutId id="2147488407" r:id="rId37"/>
    <p:sldLayoutId id="2147488408" r:id="rId38"/>
    <p:sldLayoutId id="2147488409" r:id="rId39"/>
    <p:sldLayoutId id="2147488410" r:id="rId40"/>
    <p:sldLayoutId id="2147488411" r:id="rId41"/>
    <p:sldLayoutId id="2147488412" r:id="rId42"/>
    <p:sldLayoutId id="2147488413" r:id="rId43"/>
    <p:sldLayoutId id="2147488414" r:id="rId44"/>
    <p:sldLayoutId id="2147488415" r:id="rId45"/>
    <p:sldLayoutId id="2147488416" r:id="rId46"/>
    <p:sldLayoutId id="2147488417" r:id="rId47"/>
    <p:sldLayoutId id="2147488418" r:id="rId48"/>
    <p:sldLayoutId id="2147488419" r:id="rId49"/>
    <p:sldLayoutId id="2147488420" r:id="rId50"/>
    <p:sldLayoutId id="2147488421" r:id="rId51"/>
    <p:sldLayoutId id="2147488422" r:id="rId52"/>
    <p:sldLayoutId id="2147488423" r:id="rId53"/>
    <p:sldLayoutId id="2147488424" r:id="rId54"/>
    <p:sldLayoutId id="2147488425" r:id="rId55"/>
    <p:sldLayoutId id="2147488426" r:id="rId56"/>
    <p:sldLayoutId id="2147488427" r:id="rId57"/>
    <p:sldLayoutId id="2147488428" r:id="rId58"/>
    <p:sldLayoutId id="2147488429" r:id="rId59"/>
    <p:sldLayoutId id="2147488430" r:id="rId60"/>
    <p:sldLayoutId id="2147488431" r:id="rId61"/>
    <p:sldLayoutId id="2147488432" r:id="rId62"/>
    <p:sldLayoutId id="2147488433" r:id="rId63"/>
    <p:sldLayoutId id="2147488434" r:id="rId64"/>
    <p:sldLayoutId id="2147488435" r:id="rId65"/>
    <p:sldLayoutId id="2147488436" r:id="rId66"/>
    <p:sldLayoutId id="2147488317" r:id="rId67"/>
    <p:sldLayoutId id="2147488318" r:id="rId68"/>
    <p:sldLayoutId id="2147488319" r:id="rId69"/>
    <p:sldLayoutId id="2147488437" r:id="rId70"/>
    <p:sldLayoutId id="2147488438" r:id="rId71"/>
    <p:sldLayoutId id="2147488439" r:id="rId72"/>
    <p:sldLayoutId id="2147488316" r:id="rId73"/>
    <p:sldLayoutId id="2147488440" r:id="rId74"/>
    <p:sldLayoutId id="2147488441" r:id="rId75"/>
    <p:sldLayoutId id="2147488442" r:id="rId76"/>
    <p:sldLayoutId id="2147488443" r:id="rId77"/>
    <p:sldLayoutId id="2147488444" r:id="rId78"/>
    <p:sldLayoutId id="2147488445" r:id="rId79"/>
    <p:sldLayoutId id="2147488446" r:id="rId80"/>
    <p:sldLayoutId id="2147488447" r:id="rId81"/>
    <p:sldLayoutId id="2147488448" r:id="rId82"/>
    <p:sldLayoutId id="2147488449" r:id="rId83"/>
    <p:sldLayoutId id="2147488450" r:id="rId84"/>
    <p:sldLayoutId id="2147488451" r:id="rId85"/>
    <p:sldLayoutId id="2147488452" r:id="rId86"/>
    <p:sldLayoutId id="2147488453" r:id="rId87"/>
    <p:sldLayoutId id="2147488454" r:id="rId88"/>
    <p:sldLayoutId id="2147488455" r:id="rId89"/>
    <p:sldLayoutId id="2147488456" r:id="rId90"/>
    <p:sldLayoutId id="2147488457" r:id="rId91"/>
    <p:sldLayoutId id="2147488458" r:id="rId92"/>
    <p:sldLayoutId id="2147488459" r:id="rId93"/>
    <p:sldLayoutId id="2147488460" r:id="rId94"/>
    <p:sldLayoutId id="2147488461" r:id="rId95"/>
    <p:sldLayoutId id="2147488462" r:id="rId96"/>
    <p:sldLayoutId id="2147488463" r:id="rId97"/>
    <p:sldLayoutId id="2147488464" r:id="rId98"/>
    <p:sldLayoutId id="2147488465" r:id="rId99"/>
    <p:sldLayoutId id="2147488466" r:id="rId100"/>
    <p:sldLayoutId id="2147488467" r:id="rId101"/>
    <p:sldLayoutId id="2147488468" r:id="rId102"/>
    <p:sldLayoutId id="2147488469" r:id="rId103"/>
    <p:sldLayoutId id="2147488470" r:id="rId104"/>
    <p:sldLayoutId id="2147488471" r:id="rId105"/>
    <p:sldLayoutId id="2147488472" r:id="rId106"/>
    <p:sldLayoutId id="2147488473" r:id="rId107"/>
    <p:sldLayoutId id="2147488474" r:id="rId108"/>
    <p:sldLayoutId id="2147488475" r:id="rId109"/>
    <p:sldLayoutId id="2147488476" r:id="rId110"/>
    <p:sldLayoutId id="2147488477" r:id="rId111"/>
    <p:sldLayoutId id="2147488478" r:id="rId112"/>
    <p:sldLayoutId id="2147488479" r:id="rId113"/>
    <p:sldLayoutId id="2147488480" r:id="rId114"/>
    <p:sldLayoutId id="2147488481" r:id="rId115"/>
    <p:sldLayoutId id="2147488482" r:id="rId116"/>
    <p:sldLayoutId id="2147488483" r:id="rId117"/>
    <p:sldLayoutId id="2147488484" r:id="rId118"/>
    <p:sldLayoutId id="2147488485" r:id="rId119"/>
    <p:sldLayoutId id="2147488486" r:id="rId120"/>
    <p:sldLayoutId id="2147488487" r:id="rId121"/>
    <p:sldLayoutId id="2147488488" r:id="rId122"/>
    <p:sldLayoutId id="2147488489" r:id="rId123"/>
    <p:sldLayoutId id="2147488490" r:id="rId124"/>
    <p:sldLayoutId id="2147488491" r:id="rId125"/>
    <p:sldLayoutId id="2147488492" r:id="rId126"/>
    <p:sldLayoutId id="2147488493" r:id="rId127"/>
    <p:sldLayoutId id="2147488494" r:id="rId128"/>
    <p:sldLayoutId id="2147488495" r:id="rId129"/>
    <p:sldLayoutId id="2147488496" r:id="rId130"/>
    <p:sldLayoutId id="2147488497" r:id="rId131"/>
    <p:sldLayoutId id="2147488498" r:id="rId132"/>
    <p:sldLayoutId id="2147488499" r:id="rId133"/>
    <p:sldLayoutId id="2147488500" r:id="rId134"/>
    <p:sldLayoutId id="2147488501" r:id="rId135"/>
    <p:sldLayoutId id="2147488502" r:id="rId136"/>
    <p:sldLayoutId id="2147488503" r:id="rId137"/>
    <p:sldLayoutId id="2147488504" r:id="rId138"/>
    <p:sldLayoutId id="2147488505" r:id="rId139"/>
    <p:sldLayoutId id="2147488506" r:id="rId140"/>
    <p:sldLayoutId id="2147488507" r:id="rId141"/>
    <p:sldLayoutId id="2147488508" r:id="rId142"/>
    <p:sldLayoutId id="2147488509" r:id="rId143"/>
    <p:sldLayoutId id="2147488510" r:id="rId144"/>
    <p:sldLayoutId id="2147488511" r:id="rId145"/>
    <p:sldLayoutId id="2147488512" r:id="rId146"/>
    <p:sldLayoutId id="2147488513" r:id="rId147"/>
    <p:sldLayoutId id="2147488514" r:id="rId148"/>
    <p:sldLayoutId id="2147488515" r:id="rId149"/>
    <p:sldLayoutId id="2147488516" r:id="rId150"/>
    <p:sldLayoutId id="2147488517" r:id="rId151"/>
    <p:sldLayoutId id="2147488518" r:id="rId152"/>
    <p:sldLayoutId id="2147488519" r:id="rId153"/>
    <p:sldLayoutId id="2147488520" r:id="rId154"/>
    <p:sldLayoutId id="2147488521" r:id="rId155"/>
    <p:sldLayoutId id="2147488522" r:id="rId156"/>
    <p:sldLayoutId id="2147488523" r:id="rId157"/>
    <p:sldLayoutId id="2147488524" r:id="rId158"/>
    <p:sldLayoutId id="2147488525" r:id="rId159"/>
    <p:sldLayoutId id="2147488526" r:id="rId160"/>
    <p:sldLayoutId id="2147488527" r:id="rId161"/>
    <p:sldLayoutId id="2147488528" r:id="rId162"/>
    <p:sldLayoutId id="2147488529" r:id="rId163"/>
    <p:sldLayoutId id="2147488530" r:id="rId164"/>
    <p:sldLayoutId id="2147488320" r:id="rId165"/>
    <p:sldLayoutId id="2147488321" r:id="rId166"/>
    <p:sldLayoutId id="2147488322" r:id="rId167"/>
    <p:sldLayoutId id="2147488531" r:id="rId168"/>
    <p:sldLayoutId id="2147488532" r:id="rId169"/>
    <p:sldLayoutId id="2147488533" r:id="rId170"/>
    <p:sldLayoutId id="2147488534" r:id="rId171"/>
    <p:sldLayoutId id="2147488535" r:id="rId172"/>
    <p:sldLayoutId id="2147488536" r:id="rId173"/>
    <p:sldLayoutId id="2147488537" r:id="rId174"/>
    <p:sldLayoutId id="2147488538" r:id="rId175"/>
    <p:sldLayoutId id="2147488539" r:id="rId176"/>
    <p:sldLayoutId id="2147488540" r:id="rId177"/>
    <p:sldLayoutId id="2147488541" r:id="rId178"/>
    <p:sldLayoutId id="2147488542" r:id="rId179"/>
    <p:sldLayoutId id="2147488543" r:id="rId180"/>
    <p:sldLayoutId id="2147488544" r:id="rId181"/>
    <p:sldLayoutId id="2147488545" r:id="rId182"/>
    <p:sldLayoutId id="2147488546" r:id="rId183"/>
    <p:sldLayoutId id="2147488547" r:id="rId184"/>
    <p:sldLayoutId id="2147488315" r:id="rId185"/>
    <p:sldLayoutId id="2147488548" r:id="rId186"/>
    <p:sldLayoutId id="2147488549" r:id="rId187"/>
    <p:sldLayoutId id="2147488550" r:id="rId188"/>
    <p:sldLayoutId id="2147488551" r:id="rId189"/>
    <p:sldLayoutId id="2147488552" r:id="rId190"/>
    <p:sldLayoutId id="2147488553" r:id="rId191"/>
    <p:sldLayoutId id="2147488554" r:id="rId192"/>
    <p:sldLayoutId id="2147488555" r:id="rId193"/>
    <p:sldLayoutId id="2147488556" r:id="rId194"/>
    <p:sldLayoutId id="2147488557" r:id="rId195"/>
    <p:sldLayoutId id="2147488558" r:id="rId196"/>
    <p:sldLayoutId id="2147488559" r:id="rId197"/>
    <p:sldLayoutId id="2147488313" r:id="rId198"/>
    <p:sldLayoutId id="2147488314" r:id="rId199"/>
    <p:sldLayoutId id="2147488371" r:id="rId200"/>
    <p:sldLayoutId id="2147488618" r:id="rId201"/>
    <p:sldLayoutId id="2147488619" r:id="rId20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Fira Sans"/>
              <a:buNone/>
              <a:defRPr sz="2800" b="1">
                <a:solidFill>
                  <a:schemeClr val="dk1"/>
                </a:solidFill>
                <a:latin typeface="Fira Sans"/>
                <a:ea typeface="Fira Sans"/>
                <a:cs typeface="Fira Sans"/>
                <a:sym typeface="Fira Sans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Font typeface="Roboto"/>
              <a:buChar char="●"/>
              <a:defRPr sz="1800"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●"/>
              <a:defRPr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SzPts val="1400"/>
              <a:buFont typeface="Roboto"/>
              <a:buChar char="○"/>
              <a:defRPr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SzPts val="1400"/>
              <a:buFont typeface="Roboto"/>
              <a:buChar char="■"/>
              <a:defRPr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8630" r:id="rId1"/>
    <p:sldLayoutId id="2147488631" r:id="rId2"/>
    <p:sldLayoutId id="2147488632" r:id="rId3"/>
    <p:sldLayoutId id="2147488633" r:id="rId4"/>
    <p:sldLayoutId id="2147488634" r:id="rId5"/>
    <p:sldLayoutId id="2147488635" r:id="rId6"/>
    <p:sldLayoutId id="2147488636" r:id="rId7"/>
    <p:sldLayoutId id="2147488637" r:id="rId8"/>
    <p:sldLayoutId id="2147488638" r:id="rId9"/>
    <p:sldLayoutId id="2147488639" r:id="rId10"/>
    <p:sldLayoutId id="2147483669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384" userDrawn="1">
          <p15:clr>
            <a:srgbClr val="EA4335"/>
          </p15:clr>
        </p15:guide>
        <p15:guide id="2" pos="7296" userDrawn="1">
          <p15:clr>
            <a:srgbClr val="EA4335"/>
          </p15:clr>
        </p15:guide>
        <p15:guide id="3" orient="horz" pos="345" userDrawn="1">
          <p15:clr>
            <a:srgbClr val="EA4335"/>
          </p15:clr>
        </p15:guide>
        <p15:guide id="4" orient="horz" pos="3975" userDrawn="1">
          <p15:clr>
            <a:srgbClr val="EA4335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8/19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8690" r:id="rId1"/>
    <p:sldLayoutId id="2147488691" r:id="rId2"/>
    <p:sldLayoutId id="2147488692" r:id="rId3"/>
    <p:sldLayoutId id="2147488693" r:id="rId4"/>
    <p:sldLayoutId id="2147488694" r:id="rId5"/>
    <p:sldLayoutId id="2147488695" r:id="rId6"/>
    <p:sldLayoutId id="2147488696" r:id="rId7"/>
    <p:sldLayoutId id="2147488697" r:id="rId8"/>
    <p:sldLayoutId id="2147488698" r:id="rId9"/>
    <p:sldLayoutId id="2147488699" r:id="rId10"/>
    <p:sldLayoutId id="214748870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hyperlink" Target="mailto:info@ilpqc.org" TargetMode="External"/><Relationship Id="rId1" Type="http://schemas.openxmlformats.org/officeDocument/2006/relationships/slideLayout" Target="../slideLayouts/slideLayout272.xml"/><Relationship Id="rId4" Type="http://schemas.openxmlformats.org/officeDocument/2006/relationships/image" Target="../media/image9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hyperlink" Target="mailto:info@ilpqc.org" TargetMode="External"/><Relationship Id="rId1" Type="http://schemas.openxmlformats.org/officeDocument/2006/relationships/slideLayout" Target="../slideLayouts/slideLayout272.xml"/><Relationship Id="rId4" Type="http://schemas.openxmlformats.org/officeDocument/2006/relationships/image" Target="../media/image9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svg"/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104.svg"/><Relationship Id="rId5" Type="http://schemas.openxmlformats.org/officeDocument/2006/relationships/image" Target="../media/image103.png"/><Relationship Id="rId4" Type="http://schemas.openxmlformats.org/officeDocument/2006/relationships/image" Target="../media/image102.svg"/><Relationship Id="rId9" Type="http://schemas.openxmlformats.org/officeDocument/2006/relationships/image" Target="../media/image10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svg"/><Relationship Id="rId13" Type="http://schemas.openxmlformats.org/officeDocument/2006/relationships/image" Target="../media/image118.png"/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12" Type="http://schemas.openxmlformats.org/officeDocument/2006/relationships/image" Target="../media/image117.svg"/><Relationship Id="rId17" Type="http://schemas.openxmlformats.org/officeDocument/2006/relationships/image" Target="../media/image122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2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1.svg"/><Relationship Id="rId11" Type="http://schemas.openxmlformats.org/officeDocument/2006/relationships/image" Target="../media/image116.png"/><Relationship Id="rId5" Type="http://schemas.openxmlformats.org/officeDocument/2006/relationships/image" Target="../media/image110.png"/><Relationship Id="rId15" Type="http://schemas.openxmlformats.org/officeDocument/2006/relationships/image" Target="../media/image120.png"/><Relationship Id="rId10" Type="http://schemas.openxmlformats.org/officeDocument/2006/relationships/image" Target="../media/image115.svg"/><Relationship Id="rId4" Type="http://schemas.openxmlformats.org/officeDocument/2006/relationships/image" Target="../media/image109.svg"/><Relationship Id="rId9" Type="http://schemas.openxmlformats.org/officeDocument/2006/relationships/image" Target="../media/image114.png"/><Relationship Id="rId14" Type="http://schemas.openxmlformats.org/officeDocument/2006/relationships/image" Target="../media/image119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image" Target="../media/image12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13" Type="http://schemas.openxmlformats.org/officeDocument/2006/relationships/image" Target="../media/image145.svg"/><Relationship Id="rId3" Type="http://schemas.openxmlformats.org/officeDocument/2006/relationships/image" Target="../media/image135.svg"/><Relationship Id="rId7" Type="http://schemas.openxmlformats.org/officeDocument/2006/relationships/image" Target="../media/image139.svg"/><Relationship Id="rId12" Type="http://schemas.openxmlformats.org/officeDocument/2006/relationships/image" Target="../media/image144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789.xml"/><Relationship Id="rId6" Type="http://schemas.openxmlformats.org/officeDocument/2006/relationships/image" Target="../media/image138.png"/><Relationship Id="rId11" Type="http://schemas.openxmlformats.org/officeDocument/2006/relationships/image" Target="../media/image143.svg"/><Relationship Id="rId5" Type="http://schemas.openxmlformats.org/officeDocument/2006/relationships/image" Target="../media/image137.svg"/><Relationship Id="rId10" Type="http://schemas.openxmlformats.org/officeDocument/2006/relationships/image" Target="../media/image142.png"/><Relationship Id="rId4" Type="http://schemas.openxmlformats.org/officeDocument/2006/relationships/image" Target="../media/image136.png"/><Relationship Id="rId9" Type="http://schemas.openxmlformats.org/officeDocument/2006/relationships/image" Target="../media/image141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png"/><Relationship Id="rId13" Type="http://schemas.openxmlformats.org/officeDocument/2006/relationships/image" Target="../media/image143.svg"/><Relationship Id="rId18" Type="http://schemas.openxmlformats.org/officeDocument/2006/relationships/hyperlink" Target="https://feinberg-northwestern.hosted.panopto.com/Panopto/Pages/Viewer.aspx?id=53d3192f-a17e-4154-b18b-af70013e816f" TargetMode="External"/><Relationship Id="rId3" Type="http://schemas.openxmlformats.org/officeDocument/2006/relationships/image" Target="../media/image147.svg"/><Relationship Id="rId7" Type="http://schemas.openxmlformats.org/officeDocument/2006/relationships/image" Target="../media/image145.svg"/><Relationship Id="rId12" Type="http://schemas.openxmlformats.org/officeDocument/2006/relationships/image" Target="../media/image142.png"/><Relationship Id="rId17" Type="http://schemas.openxmlformats.org/officeDocument/2006/relationships/hyperlink" Target="https://northwestern.zoom.us/rec/play/49ivRmXNRG90oEKOu91VYNKFTeRJJyeFxXsTlkGmp9LEuqorDxMhclLkS8vj8ayjyvnyBqVtcjV6mCg.58dDSQp5cBE-4-JK?canPlayFromShare=true&amp;from=share_recording_detail&amp;continueMode=true&amp;componentName=rec-play&amp;originRequestUrl=https%3A%2F%2Fnorthwestern.zoom.us%2Frec%2Fshare%2F8CE3GNGd8MQV2RjM_Yic7hu-5iGgYYYD69dOd5sa8uxq_gK0iqNY5Qz-ndzayb5y.WO1qRTZtjEzS8rw8" TargetMode="External"/><Relationship Id="rId2" Type="http://schemas.openxmlformats.org/officeDocument/2006/relationships/image" Target="../media/image146.png"/><Relationship Id="rId16" Type="http://schemas.openxmlformats.org/officeDocument/2006/relationships/image" Target="../media/image150.png"/><Relationship Id="rId1" Type="http://schemas.openxmlformats.org/officeDocument/2006/relationships/slideLayout" Target="../slideLayouts/slideLayout789.xml"/><Relationship Id="rId6" Type="http://schemas.openxmlformats.org/officeDocument/2006/relationships/image" Target="../media/image144.png"/><Relationship Id="rId11" Type="http://schemas.openxmlformats.org/officeDocument/2006/relationships/image" Target="../media/image141.svg"/><Relationship Id="rId5" Type="http://schemas.openxmlformats.org/officeDocument/2006/relationships/image" Target="../media/image137.svg"/><Relationship Id="rId15" Type="http://schemas.openxmlformats.org/officeDocument/2006/relationships/image" Target="../media/image149.jpeg"/><Relationship Id="rId10" Type="http://schemas.openxmlformats.org/officeDocument/2006/relationships/image" Target="../media/image140.png"/><Relationship Id="rId4" Type="http://schemas.openxmlformats.org/officeDocument/2006/relationships/image" Target="../media/image136.png"/><Relationship Id="rId9" Type="http://schemas.openxmlformats.org/officeDocument/2006/relationships/image" Target="../media/image139.svg"/><Relationship Id="rId14" Type="http://schemas.openxmlformats.org/officeDocument/2006/relationships/image" Target="../media/image148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svg"/><Relationship Id="rId13" Type="http://schemas.openxmlformats.org/officeDocument/2006/relationships/image" Target="../media/image142.png"/><Relationship Id="rId3" Type="http://schemas.openxmlformats.org/officeDocument/2006/relationships/image" Target="../media/image146.png"/><Relationship Id="rId7" Type="http://schemas.openxmlformats.org/officeDocument/2006/relationships/image" Target="../media/image138.png"/><Relationship Id="rId12" Type="http://schemas.openxmlformats.org/officeDocument/2006/relationships/image" Target="../media/image145.sv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52.png"/><Relationship Id="rId1" Type="http://schemas.openxmlformats.org/officeDocument/2006/relationships/slideLayout" Target="../slideLayouts/slideLayout789.xml"/><Relationship Id="rId6" Type="http://schemas.openxmlformats.org/officeDocument/2006/relationships/image" Target="../media/image137.svg"/><Relationship Id="rId11" Type="http://schemas.openxmlformats.org/officeDocument/2006/relationships/image" Target="../media/image144.png"/><Relationship Id="rId5" Type="http://schemas.openxmlformats.org/officeDocument/2006/relationships/image" Target="../media/image136.png"/><Relationship Id="rId15" Type="http://schemas.openxmlformats.org/officeDocument/2006/relationships/image" Target="../media/image151.png"/><Relationship Id="rId10" Type="http://schemas.openxmlformats.org/officeDocument/2006/relationships/image" Target="../media/image141.svg"/><Relationship Id="rId4" Type="http://schemas.openxmlformats.org/officeDocument/2006/relationships/image" Target="../media/image147.svg"/><Relationship Id="rId9" Type="http://schemas.openxmlformats.org/officeDocument/2006/relationships/image" Target="../media/image140.png"/><Relationship Id="rId14" Type="http://schemas.openxmlformats.org/officeDocument/2006/relationships/image" Target="../media/image143.sv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13" Type="http://schemas.openxmlformats.org/officeDocument/2006/relationships/image" Target="../media/image143.svg"/><Relationship Id="rId3" Type="http://schemas.openxmlformats.org/officeDocument/2006/relationships/image" Target="../media/image147.svg"/><Relationship Id="rId7" Type="http://schemas.openxmlformats.org/officeDocument/2006/relationships/image" Target="../media/image139.svg"/><Relationship Id="rId12" Type="http://schemas.openxmlformats.org/officeDocument/2006/relationships/image" Target="../media/image142.png"/><Relationship Id="rId2" Type="http://schemas.openxmlformats.org/officeDocument/2006/relationships/image" Target="../media/image146.png"/><Relationship Id="rId16" Type="http://schemas.openxmlformats.org/officeDocument/2006/relationships/image" Target="../media/image155.png"/><Relationship Id="rId1" Type="http://schemas.openxmlformats.org/officeDocument/2006/relationships/slideLayout" Target="../slideLayouts/slideLayout789.xml"/><Relationship Id="rId6" Type="http://schemas.openxmlformats.org/officeDocument/2006/relationships/image" Target="../media/image138.png"/><Relationship Id="rId11" Type="http://schemas.openxmlformats.org/officeDocument/2006/relationships/image" Target="../media/image145.svg"/><Relationship Id="rId5" Type="http://schemas.openxmlformats.org/officeDocument/2006/relationships/image" Target="../media/image137.svg"/><Relationship Id="rId15" Type="http://schemas.openxmlformats.org/officeDocument/2006/relationships/image" Target="../media/image154.png"/><Relationship Id="rId10" Type="http://schemas.openxmlformats.org/officeDocument/2006/relationships/image" Target="../media/image144.png"/><Relationship Id="rId4" Type="http://schemas.openxmlformats.org/officeDocument/2006/relationships/image" Target="../media/image136.png"/><Relationship Id="rId9" Type="http://schemas.openxmlformats.org/officeDocument/2006/relationships/image" Target="../media/image141.svg"/><Relationship Id="rId14" Type="http://schemas.openxmlformats.org/officeDocument/2006/relationships/image" Target="../media/image153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9.png"/><Relationship Id="rId4" Type="http://schemas.openxmlformats.org/officeDocument/2006/relationships/image" Target="../media/image15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1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9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7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5.sv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76.xml"/><Relationship Id="rId4" Type="http://schemas.openxmlformats.org/officeDocument/2006/relationships/image" Target="../media/image167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ilpqc.org" TargetMode="External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0.xml"/><Relationship Id="rId4" Type="http://schemas.openxmlformats.org/officeDocument/2006/relationships/image" Target="../media/image9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8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280.xml"/><Relationship Id="rId4" Type="http://schemas.openxmlformats.org/officeDocument/2006/relationships/image" Target="../media/image9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95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7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1224" y="3173680"/>
            <a:ext cx="5194433" cy="1826339"/>
          </a:xfrm>
        </p:spPr>
        <p:txBody>
          <a:bodyPr/>
          <a:lstStyle/>
          <a:p>
            <a:pPr lvl="1" algn="ctr"/>
            <a:r>
              <a:rPr lang="en-US" sz="48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quity and Safe Sleep for Infant</a:t>
            </a:r>
            <a:r>
              <a:rPr lang="en-US" sz="4800" b="1">
                <a:solidFill>
                  <a:schemeClr val="accent1"/>
                </a:solidFill>
                <a:latin typeface="DM Sans"/>
                <a:ea typeface="+mj-lt"/>
                <a:cs typeface="+mj-lt"/>
              </a:rPr>
              <a:t>s</a:t>
            </a:r>
            <a:br>
              <a:rPr lang="en-US" sz="4800" b="1">
                <a:latin typeface="DM Sans"/>
                <a:ea typeface="+mj-lt"/>
                <a:cs typeface="+mj-lt"/>
              </a:rPr>
            </a:br>
            <a:br>
              <a:rPr lang="en-US" sz="3600">
                <a:latin typeface="DM Sans"/>
                <a:ea typeface="+mj-lt"/>
                <a:cs typeface="+mj-lt"/>
              </a:rPr>
            </a:br>
            <a:endParaRPr lang="en-US" sz="3600" b="0">
              <a:latin typeface="DM Sans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74463" y="4514450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DM Sans"/>
                <a:ea typeface="+mn-lt"/>
                <a:cs typeface="+mn-lt"/>
              </a:rPr>
              <a:t>August 19th, 2024 2:00 </a:t>
            </a:r>
            <a:r>
              <a:rPr lang="en-US">
                <a:latin typeface="Bierstadt Display"/>
                <a:ea typeface="+mn-lt"/>
                <a:cs typeface="+mn-lt"/>
              </a:rPr>
              <a:t>PM</a:t>
            </a:r>
            <a:r>
              <a:rPr lang="en-US">
                <a:latin typeface="DM Sans"/>
                <a:ea typeface="+mn-lt"/>
                <a:cs typeface="+mn-lt"/>
              </a:rPr>
              <a:t> </a:t>
            </a:r>
            <a:endParaRPr lang="en-US">
              <a:latin typeface="DM Sans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3770316-A22E-98DA-7612-617DBB68472E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8E694DE2-D1B5-A619-19A6-0A53A2DE207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FE263125-2206-7D72-1BC9-C4D15DED1BB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25369"/>
            <a:ext cx="5375016" cy="1956841"/>
          </a:xfrm>
        </p:spPr>
        <p:txBody>
          <a:bodyPr anchor="b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tx1"/>
                </a:solidFill>
                <a:ea typeface="Lato Medium"/>
                <a:cs typeface="Lato Medium"/>
              </a:rPr>
              <a:t>12th Annual Conference </a:t>
            </a:r>
            <a:br>
              <a:rPr lang="en-US" sz="4200" dirty="0">
                <a:solidFill>
                  <a:schemeClr val="tx1"/>
                </a:solidFill>
                <a:ea typeface="Lato Medium"/>
                <a:cs typeface="Lato Medium"/>
              </a:rPr>
            </a:br>
            <a: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  <a:t>Planning Committee Volunteers </a:t>
            </a:r>
            <a:endParaRPr lang="en-US" sz="4200" dirty="0">
              <a:solidFill>
                <a:schemeClr val="accent3"/>
              </a:solidFill>
            </a:endParaRPr>
          </a:p>
        </p:txBody>
      </p:sp>
      <p:sp>
        <p:nvSpPr>
          <p:cNvPr id="15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F00FE42-183C-8B65-1DA4-289D0CFB7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872899"/>
            <a:ext cx="4243589" cy="3320668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b="1" dirty="0">
                <a:ea typeface="Lato"/>
                <a:cs typeface="Lato"/>
              </a:rPr>
              <a:t>Join the team to help bring the ILPQC magic to life!  </a:t>
            </a:r>
          </a:p>
          <a:p>
            <a:r>
              <a:rPr lang="en-US" sz="2800" b="1" dirty="0">
                <a:solidFill>
                  <a:schemeClr val="accent3"/>
                </a:solidFill>
                <a:ea typeface="Lato"/>
                <a:cs typeface="Lato"/>
              </a:rPr>
              <a:t>Join the 12</a:t>
            </a:r>
            <a:r>
              <a:rPr lang="en-US" sz="2800" b="1" baseline="30000" dirty="0">
                <a:solidFill>
                  <a:schemeClr val="accent3"/>
                </a:solidFill>
                <a:ea typeface="Lato"/>
                <a:cs typeface="Lato"/>
              </a:rPr>
              <a:t>th</a:t>
            </a:r>
            <a:r>
              <a:rPr lang="en-US" sz="2800" b="1" dirty="0">
                <a:solidFill>
                  <a:schemeClr val="accent3"/>
                </a:solidFill>
                <a:ea typeface="Lato"/>
                <a:cs typeface="Lato"/>
              </a:rPr>
              <a:t> Annual Conference Planning Committee! </a:t>
            </a:r>
          </a:p>
          <a:p>
            <a:r>
              <a:rPr lang="en-US" sz="2800" b="1" dirty="0">
                <a:ea typeface="Lato"/>
                <a:cs typeface="Lato"/>
              </a:rPr>
              <a:t>Interested? Email </a:t>
            </a:r>
            <a:r>
              <a:rPr lang="en-US" sz="2800" b="1" dirty="0">
                <a:solidFill>
                  <a:schemeClr val="accent1"/>
                </a:solidFill>
                <a:ea typeface="Lato"/>
                <a:cs typeface="La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B785E11-3B02-6953-28F2-33B4DDC8C94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3749" y="0"/>
            <a:ext cx="6668251" cy="6850547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5EA985-720D-EF1E-8F35-8CE99030E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8400" y="6356350"/>
            <a:ext cx="4114800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>
                <a:solidFill>
                  <a:srgbClr val="FFFFFF"/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F21D11-6F39-D1A6-5D85-A7BF70DC6E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39400" y="6356350"/>
            <a:ext cx="9144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0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Picture 10" descr="Pumpkin PNG Transparent Images | PNG All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3220" y="1634636"/>
            <a:ext cx="950219" cy="81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517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  <a:p>
            <a:pPr algn="ctr"/>
            <a:endParaRPr lang="en-US" dirty="0">
              <a:cs typeface="Calibri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25369"/>
            <a:ext cx="5101847" cy="1956841"/>
          </a:xfrm>
        </p:spPr>
        <p:txBody>
          <a:bodyPr anchor="b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tx1"/>
                </a:solidFill>
                <a:ea typeface="Lato Medium"/>
                <a:cs typeface="Lato Medium"/>
              </a:rPr>
              <a:t>12th Annual Conference </a:t>
            </a:r>
            <a: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  <a:t>ILPQC Partner </a:t>
            </a:r>
            <a:b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</a:br>
            <a: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  <a:t>Tables</a:t>
            </a:r>
          </a:p>
        </p:txBody>
      </p:sp>
      <p:sp>
        <p:nvSpPr>
          <p:cNvPr id="15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F00FE42-183C-8B65-1DA4-289D0CFB7B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872899"/>
            <a:ext cx="4243589" cy="3320668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r>
              <a:rPr lang="en-US" b="1" dirty="0">
                <a:ea typeface="Lato"/>
                <a:cs typeface="Lato"/>
              </a:rPr>
              <a:t>Want to share your organization's resources with the ILPQC teams?</a:t>
            </a:r>
          </a:p>
          <a:p>
            <a:r>
              <a:rPr lang="en-US" b="1" dirty="0">
                <a:ea typeface="Lato"/>
                <a:cs typeface="Lato"/>
              </a:rPr>
              <a:t>Want to engage directly with attendees, foster relationships and collaborate with attendees?</a:t>
            </a:r>
          </a:p>
          <a:p>
            <a:r>
              <a:rPr lang="en-US" sz="2800" b="1" dirty="0">
                <a:solidFill>
                  <a:schemeClr val="accent3"/>
                </a:solidFill>
                <a:ea typeface="Lato"/>
                <a:cs typeface="Lato"/>
              </a:rPr>
              <a:t>Interested?</a:t>
            </a:r>
            <a:r>
              <a:rPr lang="en-US" sz="2800" b="1" dirty="0">
                <a:ea typeface="Lato"/>
                <a:cs typeface="Lato"/>
              </a:rPr>
              <a:t> Email </a:t>
            </a:r>
            <a:r>
              <a:rPr lang="en-US" sz="2800" b="1" dirty="0">
                <a:solidFill>
                  <a:schemeClr val="accent1"/>
                </a:solidFill>
                <a:ea typeface="Lato"/>
                <a:cs typeface="Lato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ilpqc.org</a:t>
            </a:r>
          </a:p>
        </p:txBody>
      </p:sp>
      <p:pic>
        <p:nvPicPr>
          <p:cNvPr id="6" name="Picture 6" descr="Assorted pumpkins on baskets">
            <a:extLst>
              <a:ext uri="{FF2B5EF4-FFF2-40B4-BE49-F238E27FC236}">
                <a16:creationId xmlns:a16="http://schemas.microsoft.com/office/drawing/2014/main" id="{CB785E11-3B02-6953-28F2-33B4DDC8C94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1824" y="9202"/>
            <a:ext cx="6970176" cy="6688368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5EA985-720D-EF1E-8F35-8CE99030E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8400" y="6356350"/>
            <a:ext cx="4114800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>
                <a:solidFill>
                  <a:srgbClr val="FFFFFF"/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F21D11-6F39-D1A6-5D85-A7BF70DC6E8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39400" y="6356350"/>
            <a:ext cx="9144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1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1" name="Picture 10" descr="Pumpkin PNG Transparent Images | PNG All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3220" y="1634636"/>
            <a:ext cx="950219" cy="81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687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942" y="704456"/>
            <a:ext cx="9365380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Prompt"/>
              </a:rPr>
              <a:t>ESSI Aims and Measures</a:t>
            </a:r>
          </a:p>
        </p:txBody>
      </p:sp>
    </p:spTree>
    <p:extLst>
      <p:ext uri="{BB962C8B-B14F-4D97-AF65-F5344CB8AC3E}">
        <p14:creationId xmlns:p14="http://schemas.microsoft.com/office/powerpoint/2010/main" val="33946701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08167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93425" y="5385726"/>
            <a:ext cx="3150228" cy="62762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77580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DM Sans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564972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DM Sans"/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46616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Community Partnerships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78B5A3B7-0107-74A6-42BE-EFADF14BEC3D}"/>
              </a:ext>
            </a:extLst>
          </p:cNvPr>
          <p:cNvSpPr/>
          <p:nvPr/>
        </p:nvSpPr>
        <p:spPr>
          <a:xfrm>
            <a:off x="1606157" y="1324990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6" name="Freeform 23">
            <a:extLst>
              <a:ext uri="{FF2B5EF4-FFF2-40B4-BE49-F238E27FC236}">
                <a16:creationId xmlns:a16="http://schemas.microsoft.com/office/drawing/2014/main" id="{AE550962-E289-5DDA-2AB0-8CBF44084B7E}"/>
              </a:ext>
            </a:extLst>
          </p:cNvPr>
          <p:cNvSpPr/>
          <p:nvPr/>
        </p:nvSpPr>
        <p:spPr>
          <a:xfrm flipV="1">
            <a:off x="11688331" y="229344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22" name="Rounded Rectangle 6">
            <a:extLst>
              <a:ext uri="{FF2B5EF4-FFF2-40B4-BE49-F238E27FC236}">
                <a16:creationId xmlns:a16="http://schemas.microsoft.com/office/drawing/2014/main" id="{4AE19F30-7B6E-FA78-5463-A889A5532E66}"/>
              </a:ext>
            </a:extLst>
          </p:cNvPr>
          <p:cNvSpPr/>
          <p:nvPr/>
        </p:nvSpPr>
        <p:spPr>
          <a:xfrm>
            <a:off x="1606156" y="2474917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ea typeface="+mn-lt"/>
                <a:cs typeface="+mn-lt"/>
              </a:rPr>
              <a:t>Equitable and Inclusive Unit Policies</a:t>
            </a:r>
            <a:endParaRPr lang="en-US">
              <a:ea typeface="+mn-lt"/>
              <a:cs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Parent and Caregiver Experience Prioritization</a:t>
            </a:r>
            <a:endParaRPr lang="en-US" sz="1400" b="1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spectful Parent and Caregiver Partnerships</a:t>
            </a:r>
            <a:endParaRPr lang="en-US" sz="1400" b="1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30323" y="1601958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97613" y="1403122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cs typeface="Calibri"/>
              </a:rPr>
              <a:t>2</a:t>
            </a:r>
            <a:endParaRPr lang="en-US" sz="320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336F7CB-6EF1-3A82-CF3D-F881FC29F4CD}"/>
              </a:ext>
            </a:extLst>
          </p:cNvPr>
          <p:cNvSpPr/>
          <p:nvPr/>
        </p:nvSpPr>
        <p:spPr>
          <a:xfrm>
            <a:off x="4747641" y="2632389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DF8592-06E8-9B71-04C3-A15FB7821C4D}"/>
              </a:ext>
            </a:extLst>
          </p:cNvPr>
          <p:cNvSpPr/>
          <p:nvPr/>
        </p:nvSpPr>
        <p:spPr>
          <a:xfrm>
            <a:off x="4397612" y="2320985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cs typeface="Calibri"/>
              </a:rPr>
              <a:t>3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942" y="704456"/>
            <a:ext cx="9365380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Prompt"/>
              </a:rPr>
              <a:t>ESSI Data Review</a:t>
            </a:r>
          </a:p>
        </p:txBody>
      </p:sp>
    </p:spTree>
    <p:extLst>
      <p:ext uri="{BB962C8B-B14F-4D97-AF65-F5344CB8AC3E}">
        <p14:creationId xmlns:p14="http://schemas.microsoft.com/office/powerpoint/2010/main" val="1783184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0DA702E-1383-7FBF-6ADA-52D99A37EE7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0742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1138E8D-1301-0797-2C35-65F2BD24434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653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2F7695-AC87-CADD-A159-744C2E2DA84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546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ptos"/>
                <a:ea typeface="Lato Medium"/>
                <a:cs typeface="Lato Medium"/>
              </a:rPr>
              <a:t>ATTENDANCE POLL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ptos"/>
                <a:ea typeface="Lato"/>
                <a:cs typeface="Lato"/>
              </a:rPr>
              <a:t>Please fill out the poll so that we can track hospital team attendance at ESSI webinars.</a:t>
            </a:r>
          </a:p>
        </p:txBody>
      </p:sp>
    </p:spTree>
    <p:extLst>
      <p:ext uri="{BB962C8B-B14F-4D97-AF65-F5344CB8AC3E}">
        <p14:creationId xmlns:p14="http://schemas.microsoft.com/office/powerpoint/2010/main" val="2373268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942" y="704456"/>
            <a:ext cx="9365380" cy="2014679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Respectful Care Practices and Listening to Famili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0688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FB33DC6A-1F1C-4A06-834E-CFF88F1C0B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2" name="Freeform: Shape 11">
            <a:extLst>
              <a:ext uri="{FF2B5EF4-FFF2-40B4-BE49-F238E27FC236}">
                <a16:creationId xmlns:a16="http://schemas.microsoft.com/office/drawing/2014/main" id="{0FE1D5CF-87B8-4A8A-AD3C-01D06A607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"/>
            <a:ext cx="6208641" cy="6858000"/>
          </a:xfrm>
          <a:custGeom>
            <a:avLst/>
            <a:gdLst>
              <a:gd name="connsiteX0" fmla="*/ 0 w 6208641"/>
              <a:gd name="connsiteY0" fmla="*/ 0 h 6858000"/>
              <a:gd name="connsiteX1" fmla="*/ 5464181 w 6208641"/>
              <a:gd name="connsiteY1" fmla="*/ 0 h 6858000"/>
              <a:gd name="connsiteX2" fmla="*/ 5538086 w 6208641"/>
              <a:gd name="connsiteY2" fmla="*/ 159684 h 6858000"/>
              <a:gd name="connsiteX3" fmla="*/ 6208641 w 6208641"/>
              <a:gd name="connsiteY3" fmla="*/ 3706589 h 6858000"/>
              <a:gd name="connsiteX4" fmla="*/ 5734754 w 6208641"/>
              <a:gd name="connsiteY4" fmla="*/ 6730443 h 6858000"/>
              <a:gd name="connsiteX5" fmla="*/ 5689361 w 6208641"/>
              <a:gd name="connsiteY5" fmla="*/ 6858000 h 6858000"/>
              <a:gd name="connsiteX6" fmla="*/ 0 w 6208641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8641" h="6858000">
                <a:moveTo>
                  <a:pt x="0" y="0"/>
                </a:moveTo>
                <a:lnTo>
                  <a:pt x="5464181" y="0"/>
                </a:lnTo>
                <a:lnTo>
                  <a:pt x="5538086" y="159684"/>
                </a:lnTo>
                <a:cubicBezTo>
                  <a:pt x="5961440" y="1172168"/>
                  <a:pt x="6208641" y="2392735"/>
                  <a:pt x="6208641" y="3706589"/>
                </a:cubicBezTo>
                <a:cubicBezTo>
                  <a:pt x="6208641" y="4801467"/>
                  <a:pt x="6036974" y="5831563"/>
                  <a:pt x="5734754" y="6730443"/>
                </a:cubicBezTo>
                <a:lnTo>
                  <a:pt x="5689361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4" name="Freeform: Shape 13">
            <a:extLst>
              <a:ext uri="{FF2B5EF4-FFF2-40B4-BE49-F238E27FC236}">
                <a16:creationId xmlns:a16="http://schemas.microsoft.com/office/drawing/2014/main" id="{60926200-45C2-41E9-839F-31CD5FE4CD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203325" cy="6858000"/>
          </a:xfrm>
          <a:custGeom>
            <a:avLst/>
            <a:gdLst>
              <a:gd name="connsiteX0" fmla="*/ 0 w 6203325"/>
              <a:gd name="connsiteY0" fmla="*/ 0 h 6858000"/>
              <a:gd name="connsiteX1" fmla="*/ 5458865 w 6203325"/>
              <a:gd name="connsiteY1" fmla="*/ 0 h 6858000"/>
              <a:gd name="connsiteX2" fmla="*/ 5532770 w 6203325"/>
              <a:gd name="connsiteY2" fmla="*/ 159684 h 6858000"/>
              <a:gd name="connsiteX3" fmla="*/ 6203325 w 6203325"/>
              <a:gd name="connsiteY3" fmla="*/ 3706589 h 6858000"/>
              <a:gd name="connsiteX4" fmla="*/ 5729438 w 6203325"/>
              <a:gd name="connsiteY4" fmla="*/ 6730443 h 6858000"/>
              <a:gd name="connsiteX5" fmla="*/ 5684045 w 6203325"/>
              <a:gd name="connsiteY5" fmla="*/ 6858000 h 6858000"/>
              <a:gd name="connsiteX6" fmla="*/ 0 w 6203325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03325" h="6858000">
                <a:moveTo>
                  <a:pt x="0" y="0"/>
                </a:moveTo>
                <a:lnTo>
                  <a:pt x="5458865" y="0"/>
                </a:lnTo>
                <a:lnTo>
                  <a:pt x="5532770" y="159684"/>
                </a:lnTo>
                <a:cubicBezTo>
                  <a:pt x="5956124" y="1172168"/>
                  <a:pt x="6203325" y="2392735"/>
                  <a:pt x="6203325" y="3706589"/>
                </a:cubicBezTo>
                <a:cubicBezTo>
                  <a:pt x="6203325" y="4801467"/>
                  <a:pt x="6031658" y="5831563"/>
                  <a:pt x="5729438" y="6730443"/>
                </a:cubicBezTo>
                <a:lnTo>
                  <a:pt x="5684045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6FA345A-9115-2EC6-1F35-8D4271906D3B}"/>
              </a:ext>
            </a:extLst>
          </p:cNvPr>
          <p:cNvSpPr txBox="1">
            <a:spLocks/>
          </p:cNvSpPr>
          <p:nvPr/>
        </p:nvSpPr>
        <p:spPr>
          <a:xfrm>
            <a:off x="489098" y="864993"/>
            <a:ext cx="5911171" cy="66931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3200" b="1">
                <a:solidFill>
                  <a:srgbClr val="1C498B"/>
                </a:solidFill>
                <a:latin typeface="Aptos Display"/>
                <a:cs typeface="Prompt"/>
              </a:rPr>
              <a:t>What is Respectful Care?</a:t>
            </a:r>
            <a:endParaRPr lang="en-US" sz="5400">
              <a:solidFill>
                <a:srgbClr val="1C498B"/>
              </a:solidFill>
              <a:latin typeface="Aptos Display"/>
              <a:cs typeface="Promp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67989" y="346791"/>
            <a:ext cx="146304" cy="704088"/>
          </a:xfrm>
          <a:prstGeom prst="rect">
            <a:avLst/>
          </a:prstGeom>
          <a:solidFill>
            <a:srgbClr val="F566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4" name="Picture 3" descr="A person holding a baby&#10;&#10;Description automatically generated">
            <a:extLst>
              <a:ext uri="{FF2B5EF4-FFF2-40B4-BE49-F238E27FC236}">
                <a16:creationId xmlns:a16="http://schemas.microsoft.com/office/drawing/2014/main" id="{EBF9B272-AEE4-9141-39AB-699D3D5A72F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905" y="640061"/>
            <a:ext cx="4724974" cy="586308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098" y="4546920"/>
            <a:ext cx="501907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BAEDEA5-EBC0-20F3-5139-AA49CBA25633}"/>
              </a:ext>
            </a:extLst>
          </p:cNvPr>
          <p:cNvSpPr txBox="1">
            <a:spLocks/>
          </p:cNvSpPr>
          <p:nvPr/>
        </p:nvSpPr>
        <p:spPr>
          <a:xfrm>
            <a:off x="491487" y="1716740"/>
            <a:ext cx="6222887" cy="301097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lnSpc>
                <a:spcPct val="15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ptos Display"/>
                <a:ea typeface="+mj-lt"/>
                <a:cs typeface="Prompt"/>
              </a:rPr>
              <a:t>Ensures that patients receive </a:t>
            </a:r>
            <a:r>
              <a:rPr lang="en-US" sz="2400" b="1">
                <a:solidFill>
                  <a:srgbClr val="000000"/>
                </a:solidFill>
                <a:latin typeface="Aptos Display"/>
                <a:ea typeface="+mj-lt"/>
                <a:cs typeface="Prompt"/>
              </a:rPr>
              <a:t>patient-centered care, feel respected and listened to, and the individual needs and preferences of all birthing people are valued and met.</a:t>
            </a:r>
            <a:endParaRPr lang="en-US" sz="2400" b="1">
              <a:solidFill>
                <a:srgbClr val="000000"/>
              </a:solidFill>
              <a:latin typeface="Aptos Display"/>
              <a:cs typeface="Prompt"/>
            </a:endParaRPr>
          </a:p>
          <a:p>
            <a:pPr>
              <a:lnSpc>
                <a:spcPct val="150000"/>
              </a:lnSpc>
              <a:spcAft>
                <a:spcPts val="600"/>
              </a:spcAft>
            </a:pPr>
            <a:endParaRPr lang="en-US" sz="2400">
              <a:solidFill>
                <a:srgbClr val="000000"/>
              </a:solidFill>
              <a:latin typeface="Aptos Display"/>
              <a:cs typeface="Prompt"/>
            </a:endParaRPr>
          </a:p>
          <a:p>
            <a:pPr marL="914400" lvl="1" indent="-457200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  <a:buFont typeface="Courier New"/>
              <a:buChar char="o"/>
            </a:pPr>
            <a:endParaRPr lang="en-US" sz="2000">
              <a:solidFill>
                <a:srgbClr val="000000"/>
              </a:solidFill>
              <a:latin typeface="Aptos Display"/>
              <a:cs typeface="Prompt"/>
            </a:endParaRPr>
          </a:p>
          <a:p>
            <a:pPr indent="-457200">
              <a:spcAft>
                <a:spcPts val="600"/>
              </a:spcAft>
              <a:buFont typeface="Arial"/>
              <a:buChar char="•"/>
            </a:pPr>
            <a:endParaRPr lang="en-US" sz="2400">
              <a:latin typeface="Aptos Display"/>
              <a:cs typeface="Prompt"/>
            </a:endParaRPr>
          </a:p>
        </p:txBody>
      </p:sp>
    </p:spTree>
    <p:extLst>
      <p:ext uri="{BB962C8B-B14F-4D97-AF65-F5344CB8AC3E}">
        <p14:creationId xmlns:p14="http://schemas.microsoft.com/office/powerpoint/2010/main" val="25035959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2B97F24A-32CE-4C1C-A50D-3016B394DC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ADC0547-5E97-EE89-A9F3-3D3E822F0FA8}"/>
              </a:ext>
            </a:extLst>
          </p:cNvPr>
          <p:cNvSpPr txBox="1">
            <a:spLocks/>
          </p:cNvSpPr>
          <p:nvPr/>
        </p:nvSpPr>
        <p:spPr>
          <a:xfrm>
            <a:off x="630936" y="639520"/>
            <a:ext cx="3429000" cy="171907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400" b="1" kern="1200">
                <a:solidFill>
                  <a:srgbClr val="1C498B"/>
                </a:solidFill>
                <a:latin typeface="Aptos"/>
                <a:ea typeface="+mj-ea"/>
                <a:cs typeface="+mj-cs"/>
              </a:rPr>
              <a:t>Why is Respectful Care Integral to ESSI?</a:t>
            </a:r>
          </a:p>
        </p:txBody>
      </p:sp>
      <p:sp>
        <p:nvSpPr>
          <p:cNvPr id="12" name="sketch line">
            <a:extLst>
              <a:ext uri="{FF2B5EF4-FFF2-40B4-BE49-F238E27FC236}">
                <a16:creationId xmlns:a16="http://schemas.microsoft.com/office/drawing/2014/main" id="{CD8B4F24-440B-49E9-B85D-733523DC06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2573756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28C267F-D634-3898-5F27-33D0A5C5B94E}"/>
              </a:ext>
            </a:extLst>
          </p:cNvPr>
          <p:cNvSpPr txBox="1">
            <a:spLocks/>
          </p:cNvSpPr>
          <p:nvPr/>
        </p:nvSpPr>
        <p:spPr>
          <a:xfrm>
            <a:off x="638957" y="2807208"/>
            <a:ext cx="3597442" cy="34107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   Building upon the foundational work of the ILPQC </a:t>
            </a:r>
            <a:r>
              <a:rPr lang="en-US" sz="2000" b="1" dirty="0">
                <a:solidFill>
                  <a:srgbClr val="F0678F"/>
                </a:solidFill>
              </a:rPr>
              <a:t>Birth Equity</a:t>
            </a:r>
            <a:r>
              <a:rPr lang="en-US" sz="2000" dirty="0">
                <a:solidFill>
                  <a:srgbClr val="F0678F"/>
                </a:solidFill>
              </a:rPr>
              <a:t> </a:t>
            </a:r>
            <a:r>
              <a:rPr lang="en-US" sz="2000" dirty="0"/>
              <a:t>initiative, </a:t>
            </a:r>
            <a:r>
              <a:rPr lang="en-US" sz="2000" b="1" dirty="0"/>
              <a:t>ESSI will promote neonatal equity, address racial and social inequities, and seek to reduce neonatal health disparities in sudden unexpected infant death (SUID) related to the sleep environment.</a:t>
            </a:r>
          </a:p>
          <a:p>
            <a:pPr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pic>
        <p:nvPicPr>
          <p:cNvPr id="5" name="Picture 4" descr="A diagram of a health care system&#10;&#10;Description automatically generated">
            <a:extLst>
              <a:ext uri="{FF2B5EF4-FFF2-40B4-BE49-F238E27FC236}">
                <a16:creationId xmlns:a16="http://schemas.microsoft.com/office/drawing/2014/main" id="{4BF6BE67-A4BE-4D47-C9D1-4E96580F8FA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2001" y="1090366"/>
            <a:ext cx="7016015" cy="4677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5387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6C1167-E921-F814-A171-7368C98937E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6616" y="971835"/>
            <a:ext cx="4324346" cy="527527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2DF995B-1542-EAE1-B612-CE1968889495}"/>
              </a:ext>
            </a:extLst>
          </p:cNvPr>
          <p:cNvSpPr txBox="1"/>
          <p:nvPr/>
        </p:nvSpPr>
        <p:spPr>
          <a:xfrm>
            <a:off x="210019" y="257629"/>
            <a:ext cx="9524300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>
                <a:solidFill>
                  <a:srgbClr val="1C498B"/>
                </a:solidFill>
              </a:rPr>
              <a:t>Current ILPQC Resources for Respectful Care</a:t>
            </a:r>
          </a:p>
        </p:txBody>
      </p:sp>
      <p:pic>
        <p:nvPicPr>
          <p:cNvPr id="4" name="Picture 3" descr="A person holding a baby&#10;&#10;Description automatically generated">
            <a:extLst>
              <a:ext uri="{FF2B5EF4-FFF2-40B4-BE49-F238E27FC236}">
                <a16:creationId xmlns:a16="http://schemas.microsoft.com/office/drawing/2014/main" id="{346B2E00-DC3A-8E39-05BF-8FA7A793D9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042" y="930731"/>
            <a:ext cx="4284553" cy="53178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A0E4CCF-40E7-E15A-590D-29B38EED798C}"/>
              </a:ext>
            </a:extLst>
          </p:cNvPr>
          <p:cNvSpPr txBox="1"/>
          <p:nvPr/>
        </p:nvSpPr>
        <p:spPr>
          <a:xfrm>
            <a:off x="368970" y="6400800"/>
            <a:ext cx="374583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/>
              <a:t>Birth Equity Respectful Care Commitment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65AC0A-31F4-7E9F-AEB2-8D3C738D2D51}"/>
              </a:ext>
            </a:extLst>
          </p:cNvPr>
          <p:cNvSpPr txBox="1"/>
          <p:nvPr/>
        </p:nvSpPr>
        <p:spPr>
          <a:xfrm>
            <a:off x="4572001" y="6400799"/>
            <a:ext cx="374583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/>
              <a:t>Birth Equity Respectful Care Sign-Off</a:t>
            </a:r>
            <a:endParaRPr lang="en-US" dirty="0"/>
          </a:p>
        </p:txBody>
      </p:sp>
      <p:pic>
        <p:nvPicPr>
          <p:cNvPr id="9" name="Picture 8" descr="Two people looking at a document&#10;&#10;Description automatically generated">
            <a:extLst>
              <a:ext uri="{FF2B5EF4-FFF2-40B4-BE49-F238E27FC236}">
                <a16:creationId xmlns:a16="http://schemas.microsoft.com/office/drawing/2014/main" id="{B43E4719-BF8F-05DA-398A-3CC4C7DA7B4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87354" y="1151020"/>
            <a:ext cx="3870151" cy="4932953"/>
          </a:xfrm>
          <a:prstGeom prst="rect">
            <a:avLst/>
          </a:prstGeom>
          <a:ln>
            <a:noFill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C210133D-80CE-C42D-D399-625CDE172BCB}"/>
              </a:ext>
            </a:extLst>
          </p:cNvPr>
          <p:cNvSpPr txBox="1"/>
          <p:nvPr/>
        </p:nvSpPr>
        <p:spPr>
          <a:xfrm>
            <a:off x="8317831" y="6399609"/>
            <a:ext cx="374583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/>
              <a:t>Birth Equity PREM Surve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48741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holding a baby&#10;&#10;Description automatically generated">
            <a:extLst>
              <a:ext uri="{FF2B5EF4-FFF2-40B4-BE49-F238E27FC236}">
                <a16:creationId xmlns:a16="http://schemas.microsoft.com/office/drawing/2014/main" id="{ED238CBB-8FE5-7F5B-C965-974D85D5E79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1517" y="3201"/>
            <a:ext cx="4562506" cy="6841220"/>
          </a:xfrm>
          <a:prstGeom prst="rect">
            <a:avLst/>
          </a:prstGeom>
          <a:solidFill>
            <a:srgbClr val="000000">
              <a:shade val="95000"/>
            </a:srgbClr>
          </a:solidFill>
          <a:ln w="28575" cap="sq">
            <a:solidFill>
              <a:srgbClr val="000000"/>
            </a:solidFill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CCF5DD2-994F-384B-EF43-7FA27A6687A5}"/>
              </a:ext>
            </a:extLst>
          </p:cNvPr>
          <p:cNvSpPr txBox="1"/>
          <p:nvPr/>
        </p:nvSpPr>
        <p:spPr>
          <a:xfrm>
            <a:off x="345346" y="407526"/>
            <a:ext cx="6846814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800" b="1">
                <a:solidFill>
                  <a:srgbClr val="1C498B"/>
                </a:solidFill>
              </a:rPr>
              <a:t>ESSI Respectful Care Pract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125A777-CD6A-7E34-0A86-B2B626451515}"/>
              </a:ext>
            </a:extLst>
          </p:cNvPr>
          <p:cNvSpPr txBox="1"/>
          <p:nvPr/>
        </p:nvSpPr>
        <p:spPr>
          <a:xfrm>
            <a:off x="345344" y="4355928"/>
            <a:ext cx="684681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dirty="0">
                <a:ea typeface="+mn-lt"/>
                <a:cs typeface="+mn-lt"/>
              </a:rPr>
              <a:t>Adapted from </a:t>
            </a:r>
            <a:r>
              <a:rPr lang="en-US" i="1" dirty="0">
                <a:ea typeface="+mn-lt"/>
                <a:cs typeface="+mn-lt"/>
              </a:rPr>
              <a:t>Birth Equity</a:t>
            </a:r>
            <a:r>
              <a:rPr lang="en-US" dirty="0">
                <a:ea typeface="+mn-lt"/>
                <a:cs typeface="+mn-lt"/>
              </a:rPr>
              <a:t>, this poster can be used to promote respectful care practices within the NICU. </a:t>
            </a:r>
            <a:endParaRPr lang="en-US" b="1" dirty="0">
              <a:ea typeface="+mn-lt"/>
              <a:cs typeface="+mn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B2DDDE-2A38-4A59-15DC-AC5ADA08F88F}"/>
              </a:ext>
            </a:extLst>
          </p:cNvPr>
          <p:cNvSpPr txBox="1"/>
          <p:nvPr/>
        </p:nvSpPr>
        <p:spPr>
          <a:xfrm>
            <a:off x="345344" y="1109698"/>
            <a:ext cx="6846814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600" b="1">
                <a:ea typeface="+mn-lt"/>
                <a:cs typeface="+mn-lt"/>
              </a:rPr>
              <a:t>Respectful Care Practices </a:t>
            </a:r>
            <a:endParaRPr lang="en-US" sz="2600" b="1"/>
          </a:p>
          <a:p>
            <a:pPr marL="914400" lvl="1" indent="-457200">
              <a:buFont typeface="Courier New"/>
              <a:buChar char="o"/>
            </a:pPr>
            <a:r>
              <a:rPr lang="en-US" sz="2200">
                <a:ea typeface="+mn-lt"/>
                <a:cs typeface="+mn-lt"/>
              </a:rPr>
              <a:t>Serve as a reminder to </a:t>
            </a:r>
            <a:r>
              <a:rPr lang="en-US" sz="2200" b="1" i="1">
                <a:ea typeface="+mn-lt"/>
                <a:cs typeface="+mn-lt"/>
              </a:rPr>
              <a:t>all</a:t>
            </a:r>
            <a:r>
              <a:rPr lang="en-US" sz="2200">
                <a:ea typeface="+mn-lt"/>
                <a:cs typeface="+mn-lt"/>
              </a:rPr>
              <a:t> healthcare providers of their commitment to providing safe and respectful maternal and neonatal care </a:t>
            </a:r>
          </a:p>
          <a:p>
            <a:pPr marL="914400" lvl="1" indent="-457200">
              <a:buFont typeface="Courier New"/>
              <a:buChar char="o"/>
            </a:pPr>
            <a:r>
              <a:rPr lang="en-US" sz="2200">
                <a:ea typeface="+mn-lt"/>
                <a:cs typeface="+mn-lt"/>
              </a:rPr>
              <a:t>Demonstrate hospital's dedication to recognizing respectful care as integral to improving maternal and neonatal health outcomes and experiences. 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9CDA128E-222A-8C46-D29A-3E66BBCF78BF}"/>
              </a:ext>
            </a:extLst>
          </p:cNvPr>
          <p:cNvCxnSpPr>
            <a:cxnSpLocks/>
          </p:cNvCxnSpPr>
          <p:nvPr/>
        </p:nvCxnSpPr>
        <p:spPr>
          <a:xfrm>
            <a:off x="5422900" y="6032500"/>
            <a:ext cx="2070100" cy="0"/>
          </a:xfrm>
          <a:prstGeom prst="straightConnector1">
            <a:avLst/>
          </a:prstGeom>
          <a:ln w="57150">
            <a:solidFill>
              <a:srgbClr val="F0678F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C6AFDD9-7316-782A-0225-1FE6DB17BABC}"/>
              </a:ext>
            </a:extLst>
          </p:cNvPr>
          <p:cNvSpPr txBox="1"/>
          <p:nvPr/>
        </p:nvSpPr>
        <p:spPr>
          <a:xfrm>
            <a:off x="2328936" y="5878611"/>
            <a:ext cx="3551164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i="1" dirty="0">
                <a:ea typeface="+mn-lt"/>
                <a:cs typeface="+mn-lt"/>
              </a:rPr>
              <a:t>Officially available on our website </a:t>
            </a:r>
          </a:p>
        </p:txBody>
      </p:sp>
    </p:spTree>
    <p:extLst>
      <p:ext uri="{BB962C8B-B14F-4D97-AF65-F5344CB8AC3E}">
        <p14:creationId xmlns:p14="http://schemas.microsoft.com/office/powerpoint/2010/main" val="10891395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4D929757-B8D6-8969-41B6-91317CA10115}"/>
              </a:ext>
            </a:extLst>
          </p:cNvPr>
          <p:cNvSpPr txBox="1">
            <a:spLocks/>
          </p:cNvSpPr>
          <p:nvPr/>
        </p:nvSpPr>
        <p:spPr>
          <a:xfrm>
            <a:off x="287836" y="232503"/>
            <a:ext cx="11617484" cy="769817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000" b="1" dirty="0">
                <a:solidFill>
                  <a:srgbClr val="1C498B"/>
                </a:solidFill>
                <a:latin typeface="Aptos Display"/>
                <a:ea typeface="Lato Medium"/>
                <a:cs typeface="Lato Medium"/>
              </a:rPr>
              <a:t>Launch/Buy-In of Respectful Care Practic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E8BF18-FA7F-1E08-89BC-ED2CFD0798CE}"/>
              </a:ext>
            </a:extLst>
          </p:cNvPr>
          <p:cNvSpPr txBox="1">
            <a:spLocks/>
          </p:cNvSpPr>
          <p:nvPr/>
        </p:nvSpPr>
        <p:spPr>
          <a:xfrm>
            <a:off x="287836" y="1256019"/>
            <a:ext cx="11617484" cy="5355798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latin typeface="Aptos Display"/>
                <a:ea typeface="Lato Medium"/>
                <a:cs typeface="Lato Medium"/>
              </a:rPr>
              <a:t>How to engage clinical team members in active implementation of ESSI's Respectful Care Practices </a:t>
            </a:r>
          </a:p>
          <a:p>
            <a:pPr marL="457200" indent="-457200">
              <a:buFont typeface="Arial"/>
              <a:buChar char="•"/>
            </a:pPr>
            <a:r>
              <a:rPr lang="en-US" sz="2800" dirty="0">
                <a:latin typeface="Aptos Display"/>
                <a:ea typeface="Lato Medium"/>
                <a:cs typeface="Lato Medium"/>
              </a:rPr>
              <a:t>Consider a kick-off at </a:t>
            </a:r>
            <a:r>
              <a:rPr lang="en-US" sz="2800" dirty="0">
                <a:solidFill>
                  <a:srgbClr val="F0678F"/>
                </a:solidFill>
                <a:latin typeface="Aptos Display"/>
                <a:ea typeface="Lato Medium"/>
                <a:cs typeface="Lato Medium"/>
              </a:rPr>
              <a:t>Nursing Shift Changes / Neo Provider Meeting / Grand Rounds  </a:t>
            </a:r>
          </a:p>
          <a:p>
            <a:pPr marL="457200" indent="-457200">
              <a:buFont typeface="Arial"/>
              <a:buChar char="•"/>
            </a:pPr>
            <a:r>
              <a:rPr lang="en-US" sz="2800" dirty="0">
                <a:latin typeface="Aptos Display"/>
                <a:ea typeface="Lato Medium"/>
                <a:cs typeface="Lato Medium"/>
              </a:rPr>
              <a:t>Brainstorm with staff how to actively implement each Respectful Care Practice in your respective unit</a:t>
            </a:r>
          </a:p>
          <a:p>
            <a:pPr marL="457200" indent="-457200">
              <a:buFont typeface="Arial"/>
              <a:buChar char="•"/>
            </a:pPr>
            <a:r>
              <a:rPr lang="en-US" sz="2800" dirty="0">
                <a:latin typeface="Aptos Display"/>
                <a:ea typeface="Lato Medium"/>
                <a:cs typeface="Lato Medium"/>
              </a:rPr>
              <a:t>Have your team members sign our </a:t>
            </a:r>
            <a:r>
              <a:rPr lang="en-US" sz="2800" dirty="0">
                <a:solidFill>
                  <a:srgbClr val="F0678F"/>
                </a:solidFill>
                <a:latin typeface="Aptos Display"/>
                <a:ea typeface="Lato Medium"/>
                <a:cs typeface="Lato Medium"/>
              </a:rPr>
              <a:t>Respectful Care form </a:t>
            </a:r>
            <a:r>
              <a:rPr lang="en-US" sz="2800" dirty="0">
                <a:latin typeface="Aptos Display"/>
                <a:ea typeface="Lato Medium"/>
                <a:cs typeface="Lato Medium"/>
              </a:rPr>
              <a:t>to show their commitment to respectful care.   </a:t>
            </a:r>
          </a:p>
          <a:p>
            <a:pPr marL="457200" indent="-457200">
              <a:buFont typeface="Arial"/>
              <a:buChar char="•"/>
            </a:pPr>
            <a:r>
              <a:rPr lang="en-US" sz="2800" dirty="0">
                <a:latin typeface="Aptos Display"/>
                <a:ea typeface="Lato Medium"/>
                <a:cs typeface="Arial"/>
              </a:rPr>
              <a:t>Post Respectful Care Practices poster in patient facing areas where patients can read them </a:t>
            </a:r>
            <a:endParaRPr lang="en-US" sz="2800" dirty="0">
              <a:latin typeface="Aptos Display"/>
            </a:endParaRPr>
          </a:p>
          <a:p>
            <a:pPr marL="971550" lvl="1" indent="-514350">
              <a:buFont typeface="Courier New,monospace"/>
              <a:buChar char="o"/>
            </a:pPr>
            <a:r>
              <a:rPr lang="en-US" sz="2800" dirty="0">
                <a:latin typeface="Aptos Display"/>
                <a:ea typeface="Lato Medium"/>
                <a:cs typeface="Arial"/>
              </a:rPr>
              <a:t>Make sure to place our </a:t>
            </a:r>
            <a:r>
              <a:rPr lang="en-US" sz="2800" dirty="0">
                <a:solidFill>
                  <a:srgbClr val="F0678F"/>
                </a:solidFill>
                <a:latin typeface="Aptos Display"/>
                <a:ea typeface="Lato Medium"/>
                <a:cs typeface="Arial"/>
              </a:rPr>
              <a:t>ESSI Respectful Care Poster</a:t>
            </a:r>
            <a:r>
              <a:rPr lang="en-US" sz="2800" dirty="0">
                <a:latin typeface="Aptos Display"/>
                <a:ea typeface="Lato Medium"/>
                <a:cs typeface="Arial"/>
              </a:rPr>
              <a:t> in your </a:t>
            </a:r>
            <a:r>
              <a:rPr lang="en-US" sz="2800" dirty="0">
                <a:solidFill>
                  <a:srgbClr val="F0678F"/>
                </a:solidFill>
                <a:latin typeface="Aptos Display"/>
                <a:ea typeface="Lato Medium"/>
                <a:cs typeface="Arial"/>
              </a:rPr>
              <a:t>NICU / SCN</a:t>
            </a:r>
            <a:endParaRPr lang="en-US" sz="2800" dirty="0">
              <a:solidFill>
                <a:srgbClr val="F0678F"/>
              </a:solidFill>
              <a:latin typeface="Aptos Display"/>
            </a:endParaRPr>
          </a:p>
          <a:p>
            <a:pPr marL="457200" indent="-457200">
              <a:buFont typeface="Arial"/>
              <a:buChar char="•"/>
            </a:pPr>
            <a:endParaRPr lang="en-US" sz="2800" dirty="0">
              <a:latin typeface="Aptos Display"/>
              <a:ea typeface="Lato Medium"/>
              <a:cs typeface="Lato Medium"/>
            </a:endParaRPr>
          </a:p>
          <a:p>
            <a:pPr marL="457200" indent="-457200">
              <a:buFont typeface="Arial"/>
              <a:buChar char="•"/>
            </a:pPr>
            <a:endParaRPr lang="en-US" sz="2800" dirty="0">
              <a:latin typeface="Aptos Display"/>
              <a:ea typeface="Lato Medium"/>
              <a:cs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299700251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A1A40F29-BE8C-FD3D-E6C5-A38438CD672D}"/>
              </a:ext>
            </a:extLst>
          </p:cNvPr>
          <p:cNvSpPr txBox="1">
            <a:spLocks/>
          </p:cNvSpPr>
          <p:nvPr/>
        </p:nvSpPr>
        <p:spPr>
          <a:xfrm>
            <a:off x="160720" y="544895"/>
            <a:ext cx="5115425" cy="137618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200" b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Respectful Care Sign-Off Form</a:t>
            </a:r>
            <a:endParaRPr lang="en-US" sz="3200" kern="1200" dirty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Picture 1" descr="A medical form with text&#10;&#10;Description automatically generated">
            <a:extLst>
              <a:ext uri="{FF2B5EF4-FFF2-40B4-BE49-F238E27FC236}">
                <a16:creationId xmlns:a16="http://schemas.microsoft.com/office/drawing/2014/main" id="{901E21FB-B011-7B72-6D5E-E89DFCF4636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3840" y="-29193"/>
            <a:ext cx="6508547" cy="689007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Picture 2" descr="A white text on a white background&#10;&#10;Description automatically generated">
            <a:extLst>
              <a:ext uri="{FF2B5EF4-FFF2-40B4-BE49-F238E27FC236}">
                <a16:creationId xmlns:a16="http://schemas.microsoft.com/office/drawing/2014/main" id="{84D714C8-EC0F-2452-C1E5-E674884BE3C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421" y="2840871"/>
            <a:ext cx="5406190" cy="381518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2C31799-0624-B053-5541-F441FA66D1E5}"/>
              </a:ext>
            </a:extLst>
          </p:cNvPr>
          <p:cNvSpPr/>
          <p:nvPr/>
        </p:nvSpPr>
        <p:spPr>
          <a:xfrm>
            <a:off x="577515" y="5149515"/>
            <a:ext cx="4876800" cy="561473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AB2B876-3B96-416B-F4FD-4188DB4ACB71}"/>
              </a:ext>
            </a:extLst>
          </p:cNvPr>
          <p:cNvSpPr txBox="1">
            <a:spLocks/>
          </p:cNvSpPr>
          <p:nvPr/>
        </p:nvSpPr>
        <p:spPr>
          <a:xfrm>
            <a:off x="305803" y="1563789"/>
            <a:ext cx="5115425" cy="71457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2000" b="1" i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From </a:t>
            </a:r>
            <a:r>
              <a:rPr lang="en-US" sz="2000" b="1" i="1" kern="1200" dirty="0">
                <a:solidFill>
                  <a:srgbClr val="F0678F"/>
                </a:solidFill>
                <a:latin typeface="+mj-lt"/>
                <a:ea typeface="+mj-ea"/>
                <a:cs typeface="+mj-cs"/>
              </a:rPr>
              <a:t>Birth Equity </a:t>
            </a:r>
            <a:r>
              <a:rPr lang="en-US" sz="2000" b="1" i="1" kern="12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Initiative</a:t>
            </a:r>
            <a:endParaRPr lang="en-US" sz="2000" i="1" kern="1200" dirty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2E9FDB-914B-9D6F-2A82-4BCF6F80480C}"/>
              </a:ext>
            </a:extLst>
          </p:cNvPr>
          <p:cNvSpPr/>
          <p:nvPr/>
        </p:nvSpPr>
        <p:spPr>
          <a:xfrm>
            <a:off x="747670" y="5770416"/>
            <a:ext cx="4673558" cy="744664"/>
          </a:xfrm>
          <a:prstGeom prst="rect">
            <a:avLst/>
          </a:prstGeom>
          <a:solidFill>
            <a:srgbClr val="F0678F"/>
          </a:solidFill>
          <a:ln>
            <a:solidFill>
              <a:srgbClr val="F0678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/>
              <a:t>Sign-Off Adaptation for Neonatal Coming Soon</a:t>
            </a:r>
          </a:p>
        </p:txBody>
      </p:sp>
    </p:spTree>
    <p:extLst>
      <p:ext uri="{BB962C8B-B14F-4D97-AF65-F5344CB8AC3E}">
        <p14:creationId xmlns:p14="http://schemas.microsoft.com/office/powerpoint/2010/main" val="40640687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2110" y="236335"/>
            <a:ext cx="9365380" cy="1285212"/>
          </a:xfrm>
        </p:spPr>
        <p:txBody>
          <a:bodyPr/>
          <a:lstStyle/>
          <a:p>
            <a:r>
              <a:rPr lang="en-US" dirty="0">
                <a:latin typeface="Aptos"/>
                <a:ea typeface="Lato Medium"/>
                <a:cs typeface="Lato Medium"/>
              </a:rPr>
              <a:t>POLL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702110" y="1521548"/>
            <a:ext cx="10892990" cy="75514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ptos"/>
                <a:ea typeface="Lato"/>
                <a:cs typeface="Lato"/>
              </a:rPr>
              <a:t>Where do you currently have your Respectful Care Practices posted? </a:t>
            </a:r>
            <a:endParaRPr lang="en-US" dirty="0"/>
          </a:p>
          <a:p>
            <a:endParaRPr lang="en-US" dirty="0">
              <a:latin typeface="Aptos"/>
              <a:ea typeface="Lato"/>
              <a:cs typeface="Lato"/>
            </a:endParaRPr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D0D5215A-A7B9-1623-DE75-470D840F9C70}"/>
              </a:ext>
            </a:extLst>
          </p:cNvPr>
          <p:cNvSpPr txBox="1">
            <a:spLocks/>
          </p:cNvSpPr>
          <p:nvPr/>
        </p:nvSpPr>
        <p:spPr>
          <a:xfrm>
            <a:off x="702110" y="2276691"/>
            <a:ext cx="9365380" cy="33126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23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46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69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91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11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Labor and Delivery </a:t>
            </a:r>
            <a:endParaRPr lang="en-US" dirty="0">
              <a:latin typeface="Aptos"/>
            </a:endParaRPr>
          </a:p>
          <a:p>
            <a:pPr marL="342900" indent="-342900"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Triage </a:t>
            </a:r>
            <a:endParaRPr lang="en-US" dirty="0">
              <a:latin typeface="Aptos"/>
            </a:endParaRPr>
          </a:p>
          <a:p>
            <a:pPr marL="342900" indent="-342900"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Postpartum </a:t>
            </a:r>
            <a:endParaRPr lang="en-US" dirty="0">
              <a:latin typeface="Aptos"/>
            </a:endParaRPr>
          </a:p>
          <a:p>
            <a:pPr marL="342900" indent="-342900"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SCN/NICU</a:t>
            </a:r>
            <a:endParaRPr lang="en-US" dirty="0">
              <a:latin typeface="Aptos"/>
            </a:endParaRPr>
          </a:p>
          <a:p>
            <a:pPr marL="342900" indent="-342900">
              <a:buChar char="•"/>
            </a:pPr>
            <a:endParaRPr lang="en-US" dirty="0">
              <a:latin typeface="Aptos"/>
              <a:ea typeface="Lato"/>
              <a:cs typeface="Lato"/>
            </a:endParaRPr>
          </a:p>
          <a:p>
            <a:endParaRPr lang="en-US" dirty="0">
              <a:latin typeface="Aptos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086141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1CE8A8-2FF3-41D9-8EBB-20BAFAA12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532" y="-1976"/>
            <a:ext cx="10812378" cy="1357647"/>
          </a:xfrm>
        </p:spPr>
        <p:txBody>
          <a:bodyPr>
            <a:normAutofit/>
          </a:bodyPr>
          <a:lstStyle/>
          <a:p>
            <a:pPr algn="ctr"/>
            <a:r>
              <a:rPr lang="en-US" sz="2500" b="1" dirty="0">
                <a:solidFill>
                  <a:srgbClr val="1C498B"/>
                </a:solidFill>
              </a:rPr>
              <a:t>Strategies that Birth Equity Teams Found Useful for Endorsing Respectful Care Practices</a:t>
            </a:r>
            <a:endParaRPr lang="en-US" sz="25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FE5894-EAED-41E4-94E5-64F7D851D8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1B365A6-C3EB-0EC4-A1E7-514C90BBCBAD}"/>
              </a:ext>
            </a:extLst>
          </p:cNvPr>
          <p:cNvSpPr>
            <a:spLocks noGrp="1"/>
          </p:cNvSpPr>
          <p:nvPr/>
        </p:nvSpPr>
        <p:spPr>
          <a:xfrm>
            <a:off x="523356" y="1710582"/>
            <a:ext cx="5331406" cy="402422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Poster with respectful care practices at each nurses' station throughout the uni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All staff educated </a:t>
            </a:r>
            <a:r>
              <a:rPr lang="en-US" sz="2200" b="1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on </a:t>
            </a:r>
            <a:r>
              <a:rPr lang="en-US" sz="22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respectful care practices and how to speak to patients about them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All staff read and sign respectful care strategy poster 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Shared respectful care practices in nurses break room with food 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2200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Hosting</a:t>
            </a:r>
            <a:r>
              <a:rPr lang="en-US" sz="2200" b="1" dirty="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 Respectful Care Breakfasts </a:t>
            </a:r>
          </a:p>
          <a:p>
            <a:endParaRPr lang="en-US" dirty="0">
              <a:solidFill>
                <a:schemeClr val="tx1">
                  <a:lumMod val="50000"/>
                </a:schemeClr>
              </a:solidFill>
              <a:ea typeface="+mn-lt"/>
              <a:cs typeface="+mn-lt"/>
            </a:endParaRPr>
          </a:p>
          <a:p>
            <a:endParaRPr lang="en-US" dirty="0">
              <a:solidFill>
                <a:schemeClr val="tx1">
                  <a:lumMod val="50000"/>
                </a:schemeClr>
              </a:solidFill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BB0710AF-590A-EC77-D10B-542B21941BBC}"/>
              </a:ext>
            </a:extLst>
          </p:cNvPr>
          <p:cNvSpPr>
            <a:spLocks noGrp="1"/>
          </p:cNvSpPr>
          <p:nvPr/>
        </p:nvSpPr>
        <p:spPr>
          <a:xfrm>
            <a:off x="6362652" y="1711087"/>
            <a:ext cx="5775293" cy="361534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Poster displayed upon admission to OB, triage rooms, and in each patient room (LD and PP)</a:t>
            </a:r>
            <a:endParaRPr lang="en-US" sz="220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2200">
                <a:solidFill>
                  <a:schemeClr val="tx1">
                    <a:lumMod val="50000"/>
                  </a:schemeClr>
                </a:solidFill>
                <a:ea typeface="+mn-lt"/>
                <a:cs typeface="+mn-lt"/>
              </a:rPr>
              <a:t>Provided to patients at prenatal classes</a:t>
            </a:r>
            <a:endParaRPr lang="en-US" sz="2200">
              <a:solidFill>
                <a:schemeClr val="tx1">
                  <a:lumMod val="50000"/>
                </a:schemeClr>
              </a:solidFill>
            </a:endParaRPr>
          </a:p>
          <a:p>
            <a:r>
              <a:rPr lang="en-US" sz="2200">
                <a:ea typeface="+mn-lt"/>
                <a:cs typeface="+mn-lt"/>
              </a:rPr>
              <a:t>Given in the patient admission folders</a:t>
            </a:r>
            <a:endParaRPr lang="en-US" sz="2200"/>
          </a:p>
          <a:p>
            <a:endParaRPr lang="en-US" sz="220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D3850892-A3BD-8B99-159E-5D4E4A88E5A2}"/>
              </a:ext>
            </a:extLst>
          </p:cNvPr>
          <p:cNvSpPr txBox="1"/>
          <p:nvPr/>
        </p:nvSpPr>
        <p:spPr>
          <a:xfrm>
            <a:off x="449014" y="1119917"/>
            <a:ext cx="5142690" cy="510778"/>
          </a:xfrm>
          <a:prstGeom prst="roundRect">
            <a:avLst/>
          </a:prstGeom>
          <a:ln>
            <a:solidFill>
              <a:srgbClr val="F5668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</a:pPr>
            <a:r>
              <a:rPr lang="en-US" sz="24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Prompt"/>
                <a:ea typeface="+mn-lt"/>
                <a:cs typeface="+mn-lt"/>
              </a:rPr>
              <a:t>Clinical care team</a:t>
            </a:r>
          </a:p>
        </p:txBody>
      </p:sp>
      <p:sp>
        <p:nvSpPr>
          <p:cNvPr id="11" name="TextBox 11">
            <a:extLst>
              <a:ext uri="{FF2B5EF4-FFF2-40B4-BE49-F238E27FC236}">
                <a16:creationId xmlns:a16="http://schemas.microsoft.com/office/drawing/2014/main" id="{73643F8F-A7D3-2284-E7B9-01F679549E1D}"/>
              </a:ext>
            </a:extLst>
          </p:cNvPr>
          <p:cNvSpPr txBox="1"/>
          <p:nvPr/>
        </p:nvSpPr>
        <p:spPr>
          <a:xfrm>
            <a:off x="6358837" y="1120681"/>
            <a:ext cx="5142690" cy="510778"/>
          </a:xfrm>
          <a:prstGeom prst="roundRect">
            <a:avLst/>
          </a:prstGeom>
          <a:ln>
            <a:solidFill>
              <a:srgbClr val="F5668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</a:pPr>
            <a:r>
              <a:rPr lang="en-US" sz="24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Prompt"/>
                <a:ea typeface="+mn-lt"/>
                <a:cs typeface="+mn-lt"/>
              </a:rPr>
              <a:t>Patient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DD0AE2C-E620-7784-B0B3-44A412F05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61060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0752830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27">
            <a:extLst>
              <a:ext uri="{FF2B5EF4-FFF2-40B4-BE49-F238E27FC236}">
                <a16:creationId xmlns:a16="http://schemas.microsoft.com/office/drawing/2014/main" id="{2DF371C9-2B4A-FF6D-9BD9-EF9C842CB440}"/>
              </a:ext>
            </a:extLst>
          </p:cNvPr>
          <p:cNvGrpSpPr/>
          <p:nvPr/>
        </p:nvGrpSpPr>
        <p:grpSpPr>
          <a:xfrm>
            <a:off x="2865096" y="593331"/>
            <a:ext cx="1368800" cy="1368800"/>
            <a:chOff x="0" y="0"/>
            <a:chExt cx="812800" cy="812800"/>
          </a:xfrm>
        </p:grpSpPr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C4C642E2-9FC9-9E7D-EE94-5C8845BA01F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TextBox 29">
              <a:extLst>
                <a:ext uri="{FF2B5EF4-FFF2-40B4-BE49-F238E27FC236}">
                  <a16:creationId xmlns:a16="http://schemas.microsoft.com/office/drawing/2014/main" id="{73B93FEF-DCE6-F2A4-F38A-12E1819C303D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39" name="Group 27">
            <a:extLst>
              <a:ext uri="{FF2B5EF4-FFF2-40B4-BE49-F238E27FC236}">
                <a16:creationId xmlns:a16="http://schemas.microsoft.com/office/drawing/2014/main" id="{4494A9DD-1216-AE19-23AE-5239BEF53D53}"/>
              </a:ext>
            </a:extLst>
          </p:cNvPr>
          <p:cNvGrpSpPr/>
          <p:nvPr/>
        </p:nvGrpSpPr>
        <p:grpSpPr>
          <a:xfrm>
            <a:off x="5219131" y="1960849"/>
            <a:ext cx="1368800" cy="1368800"/>
            <a:chOff x="0" y="0"/>
            <a:chExt cx="812800" cy="812800"/>
          </a:xfrm>
        </p:grpSpPr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0122EA14-8B71-6334-01D8-5B59FCE0EF1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extBox 29">
              <a:extLst>
                <a:ext uri="{FF2B5EF4-FFF2-40B4-BE49-F238E27FC236}">
                  <a16:creationId xmlns:a16="http://schemas.microsoft.com/office/drawing/2014/main" id="{9D3B4443-6EEB-0B53-076D-21A781ABD4E8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32" name="Group 27">
            <a:extLst>
              <a:ext uri="{FF2B5EF4-FFF2-40B4-BE49-F238E27FC236}">
                <a16:creationId xmlns:a16="http://schemas.microsoft.com/office/drawing/2014/main" id="{85F94123-366B-7412-A81F-C981556035FC}"/>
              </a:ext>
            </a:extLst>
          </p:cNvPr>
          <p:cNvGrpSpPr/>
          <p:nvPr/>
        </p:nvGrpSpPr>
        <p:grpSpPr>
          <a:xfrm>
            <a:off x="7239792" y="593331"/>
            <a:ext cx="1368800" cy="1368800"/>
            <a:chOff x="0" y="0"/>
            <a:chExt cx="812800" cy="812800"/>
          </a:xfrm>
        </p:grpSpPr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DF6A49CE-5EA6-2F3F-9359-F7830E7FADD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TextBox 29">
              <a:extLst>
                <a:ext uri="{FF2B5EF4-FFF2-40B4-BE49-F238E27FC236}">
                  <a16:creationId xmlns:a16="http://schemas.microsoft.com/office/drawing/2014/main" id="{0BB96CA5-9824-3D38-593F-0BB6A4CA882B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aphicFrame>
        <p:nvGraphicFramePr>
          <p:cNvPr id="789" name="Diagram 788">
            <a:extLst>
              <a:ext uri="{FF2B5EF4-FFF2-40B4-BE49-F238E27FC236}">
                <a16:creationId xmlns:a16="http://schemas.microsoft.com/office/drawing/2014/main" id="{9EED3137-3E67-A598-911B-271021BF04E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0701524"/>
              </p:ext>
            </p:extLst>
          </p:nvPr>
        </p:nvGraphicFramePr>
        <p:xfrm>
          <a:off x="1055100" y="592905"/>
          <a:ext cx="10498186" cy="56650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A1A40F29-BE8C-FD3D-E6C5-A38438CD672D}"/>
              </a:ext>
            </a:extLst>
          </p:cNvPr>
          <p:cNvSpPr txBox="1">
            <a:spLocks/>
          </p:cNvSpPr>
          <p:nvPr/>
        </p:nvSpPr>
        <p:spPr>
          <a:xfrm>
            <a:off x="290633" y="394207"/>
            <a:ext cx="11617484" cy="1105376"/>
          </a:xfrm>
          <a:prstGeom prst="rect">
            <a:avLst/>
          </a:prstGeom>
        </p:spPr>
        <p:txBody>
          <a:bodyPr lIns="91440" tIns="45720" rIns="91440" bIns="4572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000" b="1">
                <a:solidFill>
                  <a:srgbClr val="1C498B"/>
                </a:solidFill>
                <a:latin typeface="Aptos Display"/>
                <a:ea typeface="Lato Medium"/>
                <a:cs typeface="Lato Medium"/>
              </a:rPr>
              <a:t>Steps to Active Implementation of Respectful Care Practices</a:t>
            </a:r>
          </a:p>
        </p:txBody>
      </p:sp>
      <p:cxnSp>
        <p:nvCxnSpPr>
          <p:cNvPr id="782" name="Straight Arrow Connector 781">
            <a:extLst>
              <a:ext uri="{FF2B5EF4-FFF2-40B4-BE49-F238E27FC236}">
                <a16:creationId xmlns:a16="http://schemas.microsoft.com/office/drawing/2014/main" id="{A8738274-EAA6-CDE4-810F-FF44606025EB}"/>
              </a:ext>
            </a:extLst>
          </p:cNvPr>
          <p:cNvCxnSpPr/>
          <p:nvPr/>
        </p:nvCxnSpPr>
        <p:spPr>
          <a:xfrm flipH="1" flipV="1">
            <a:off x="9538282" y="4382546"/>
            <a:ext cx="1399" cy="889233"/>
          </a:xfrm>
          <a:prstGeom prst="straightConnector1">
            <a:avLst/>
          </a:prstGeom>
          <a:ln w="57150"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4" name="TextBox 803">
            <a:extLst>
              <a:ext uri="{FF2B5EF4-FFF2-40B4-BE49-F238E27FC236}">
                <a16:creationId xmlns:a16="http://schemas.microsoft.com/office/drawing/2014/main" id="{D9C34648-B865-E660-E52D-2881AC51425E}"/>
              </a:ext>
            </a:extLst>
          </p:cNvPr>
          <p:cNvSpPr txBox="1"/>
          <p:nvPr/>
        </p:nvSpPr>
        <p:spPr>
          <a:xfrm>
            <a:off x="7754042" y="5499646"/>
            <a:ext cx="3645016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i="1" dirty="0"/>
              <a:t>Parent Partners</a:t>
            </a:r>
            <a:endParaRPr lang="en-US" dirty="0"/>
          </a:p>
          <a:p>
            <a:pPr algn="ctr"/>
            <a:r>
              <a:rPr lang="en-US" i="1" dirty="0"/>
              <a:t>Respectful Care Breakfasts</a:t>
            </a:r>
          </a:p>
          <a:p>
            <a:pPr algn="ctr"/>
            <a:r>
              <a:rPr lang="en-US" i="1" dirty="0">
                <a:ea typeface="+mn-lt"/>
                <a:cs typeface="+mn-lt"/>
              </a:rPr>
              <a:t>PREM</a:t>
            </a:r>
            <a:endParaRPr lang="en-US" dirty="0"/>
          </a:p>
        </p:txBody>
      </p:sp>
      <p:grpSp>
        <p:nvGrpSpPr>
          <p:cNvPr id="18" name="Group 27">
            <a:extLst>
              <a:ext uri="{FF2B5EF4-FFF2-40B4-BE49-F238E27FC236}">
                <a16:creationId xmlns:a16="http://schemas.microsoft.com/office/drawing/2014/main" id="{28E2C77A-3A50-C14B-7EA2-4B3D945C1947}"/>
              </a:ext>
            </a:extLst>
          </p:cNvPr>
          <p:cNvGrpSpPr/>
          <p:nvPr/>
        </p:nvGrpSpPr>
        <p:grpSpPr>
          <a:xfrm>
            <a:off x="293876" y="5137259"/>
            <a:ext cx="1368800" cy="1368800"/>
            <a:chOff x="0" y="0"/>
            <a:chExt cx="812800" cy="812800"/>
          </a:xfrm>
        </p:grpSpPr>
        <p:sp>
          <p:nvSpPr>
            <p:cNvPr id="16" name="Freeform 28">
              <a:extLst>
                <a:ext uri="{FF2B5EF4-FFF2-40B4-BE49-F238E27FC236}">
                  <a16:creationId xmlns:a16="http://schemas.microsoft.com/office/drawing/2014/main" id="{EF4E32E3-B6A3-69FB-2D64-21EC333F737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TextBox 29">
              <a:extLst>
                <a:ext uri="{FF2B5EF4-FFF2-40B4-BE49-F238E27FC236}">
                  <a16:creationId xmlns:a16="http://schemas.microsoft.com/office/drawing/2014/main" id="{96051964-5BD5-CAFE-A858-C604E9785FF0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2" name="Group 27">
            <a:extLst>
              <a:ext uri="{FF2B5EF4-FFF2-40B4-BE49-F238E27FC236}">
                <a16:creationId xmlns:a16="http://schemas.microsoft.com/office/drawing/2014/main" id="{433CFA9E-320B-58FC-9ECC-48E3063F2125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32A5B7D6-7FCC-A165-D279-82EBBCF13D5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TextBox 29">
              <a:extLst>
                <a:ext uri="{FF2B5EF4-FFF2-40B4-BE49-F238E27FC236}">
                  <a16:creationId xmlns:a16="http://schemas.microsoft.com/office/drawing/2014/main" id="{A76A109A-2747-CB8C-1EA8-6F5408C4BA61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3" name="Group 27">
            <a:extLst>
              <a:ext uri="{FF2B5EF4-FFF2-40B4-BE49-F238E27FC236}">
                <a16:creationId xmlns:a16="http://schemas.microsoft.com/office/drawing/2014/main" id="{46DA4572-03D2-AAFE-70C2-F202F8C4E37B}"/>
              </a:ext>
            </a:extLst>
          </p:cNvPr>
          <p:cNvGrpSpPr/>
          <p:nvPr/>
        </p:nvGrpSpPr>
        <p:grpSpPr>
          <a:xfrm>
            <a:off x="-312172" y="130688"/>
            <a:ext cx="1368800" cy="1368800"/>
            <a:chOff x="0" y="0"/>
            <a:chExt cx="812800" cy="812800"/>
          </a:xfrm>
        </p:grpSpPr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AC7FD3BC-99EA-E53D-7FC5-5B6688BA23A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TextBox 29">
              <a:extLst>
                <a:ext uri="{FF2B5EF4-FFF2-40B4-BE49-F238E27FC236}">
                  <a16:creationId xmlns:a16="http://schemas.microsoft.com/office/drawing/2014/main" id="{6ED7F2EA-1453-C500-B885-DC0BC6AC8F40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9" name="Group 27">
            <a:extLst>
              <a:ext uri="{FF2B5EF4-FFF2-40B4-BE49-F238E27FC236}">
                <a16:creationId xmlns:a16="http://schemas.microsoft.com/office/drawing/2014/main" id="{F0446C2D-8F8F-408F-DB80-92D56C158346}"/>
              </a:ext>
            </a:extLst>
          </p:cNvPr>
          <p:cNvGrpSpPr/>
          <p:nvPr/>
        </p:nvGrpSpPr>
        <p:grpSpPr>
          <a:xfrm>
            <a:off x="11219882" y="-774188"/>
            <a:ext cx="1368800" cy="1368800"/>
            <a:chOff x="0" y="0"/>
            <a:chExt cx="812800" cy="812800"/>
          </a:xfrm>
        </p:grpSpPr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BC6B0F52-FB0C-A3ED-6294-C7E9F4B1034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TextBox 29">
              <a:extLst>
                <a:ext uri="{FF2B5EF4-FFF2-40B4-BE49-F238E27FC236}">
                  <a16:creationId xmlns:a16="http://schemas.microsoft.com/office/drawing/2014/main" id="{1FC0378E-BF89-CF66-C11C-8573180A1AB3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61" name="Group 27">
            <a:extLst>
              <a:ext uri="{FF2B5EF4-FFF2-40B4-BE49-F238E27FC236}">
                <a16:creationId xmlns:a16="http://schemas.microsoft.com/office/drawing/2014/main" id="{0F71C00B-34DB-8478-554E-9D864A57C624}"/>
              </a:ext>
            </a:extLst>
          </p:cNvPr>
          <p:cNvGrpSpPr/>
          <p:nvPr/>
        </p:nvGrpSpPr>
        <p:grpSpPr>
          <a:xfrm>
            <a:off x="5104001" y="4456902"/>
            <a:ext cx="1368800" cy="1368800"/>
            <a:chOff x="0" y="0"/>
            <a:chExt cx="812800" cy="812800"/>
          </a:xfrm>
        </p:grpSpPr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32AE31E1-1565-DF02-6A58-FBBC2D379BD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TextBox 29">
              <a:extLst>
                <a:ext uri="{FF2B5EF4-FFF2-40B4-BE49-F238E27FC236}">
                  <a16:creationId xmlns:a16="http://schemas.microsoft.com/office/drawing/2014/main" id="{33D338BB-AD95-4D8D-1E75-12BE138E5961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28097371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9DA9E4-8E57-D07F-2A71-1A5B61A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BF6A44-9F85-5CD9-CFDD-619DFCC5DAE3}"/>
              </a:ext>
            </a:extLst>
          </p:cNvPr>
          <p:cNvSpPr txBox="1">
            <a:spLocks/>
          </p:cNvSpPr>
          <p:nvPr/>
        </p:nvSpPr>
        <p:spPr>
          <a:xfrm>
            <a:off x="654616" y="1592862"/>
            <a:ext cx="10434221" cy="392466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</a:pPr>
            <a:endParaRPr lang="en-US" sz="2400" dirty="0">
              <a:solidFill>
                <a:srgbClr val="000000"/>
              </a:solidFill>
              <a:latin typeface="Arial"/>
              <a:ea typeface="Lato Medium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ESSI Aims and Measures 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Annual Conference – Registration Coming Soon!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Data Overview 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Building an Inclusive Clinical Environment and Parent Empowerment 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Team Talk: FHN Memorial Hospital 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Upcoming Opportunities of Interest to ESSI Teams </a:t>
            </a:r>
          </a:p>
          <a:p>
            <a:pPr marL="742950" lvl="1" indent="-285750">
              <a:spcBef>
                <a:spcPts val="500"/>
              </a:spcBef>
              <a:spcAft>
                <a:spcPts val="1000"/>
              </a:spcAft>
              <a:buFont typeface="Courier New,monospace"/>
              <a:buChar char="o"/>
            </a:pPr>
            <a:endParaRPr lang="en-US" sz="2000" dirty="0">
              <a:latin typeface="Arial"/>
              <a:ea typeface="Lato Medium"/>
              <a:cs typeface="Arial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E2176F69-6A90-79BF-BE1A-647EEC25E5B6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293A4BD0-ADF6-D907-7D01-9A0EC913C33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D6B07960-BA62-1FF2-41F2-10CDCFC99DF9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8" name="Group 27">
            <a:extLst>
              <a:ext uri="{FF2B5EF4-FFF2-40B4-BE49-F238E27FC236}">
                <a16:creationId xmlns:a16="http://schemas.microsoft.com/office/drawing/2014/main" id="{EAB6171E-B389-19EF-475C-7DFC8285AD27}"/>
              </a:ext>
            </a:extLst>
          </p:cNvPr>
          <p:cNvGrpSpPr/>
          <p:nvPr/>
        </p:nvGrpSpPr>
        <p:grpSpPr>
          <a:xfrm>
            <a:off x="9609154" y="906164"/>
            <a:ext cx="1368800" cy="1368800"/>
            <a:chOff x="0" y="0"/>
            <a:chExt cx="812800" cy="812800"/>
          </a:xfrm>
        </p:grpSpPr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CC9F8EAA-EC69-50AE-9585-3DE094AE2F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29">
              <a:extLst>
                <a:ext uri="{FF2B5EF4-FFF2-40B4-BE49-F238E27FC236}">
                  <a16:creationId xmlns:a16="http://schemas.microsoft.com/office/drawing/2014/main" id="{48DF3E86-0462-C737-A26E-7B5C3372F5C4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4" name="Group 27">
            <a:extLst>
              <a:ext uri="{FF2B5EF4-FFF2-40B4-BE49-F238E27FC236}">
                <a16:creationId xmlns:a16="http://schemas.microsoft.com/office/drawing/2014/main" id="{2DF12F63-3431-2654-C666-E4B652452F80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16305E8F-6DF3-2D08-8BEF-A689BDE654F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29">
              <a:extLst>
                <a:ext uri="{FF2B5EF4-FFF2-40B4-BE49-F238E27FC236}">
                  <a16:creationId xmlns:a16="http://schemas.microsoft.com/office/drawing/2014/main" id="{54C6D955-875D-85C4-889E-D42517C6668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E9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3"/>
          <p:cNvSpPr/>
          <p:nvPr/>
        </p:nvSpPr>
        <p:spPr>
          <a:xfrm>
            <a:off x="685800" y="3851625"/>
            <a:ext cx="3589597" cy="3452540"/>
          </a:xfrm>
          <a:custGeom>
            <a:avLst/>
            <a:gdLst/>
            <a:ahLst/>
            <a:cxnLst/>
            <a:rect l="l" t="t" r="r" b="b"/>
            <a:pathLst>
              <a:path w="5384396" h="5178810">
                <a:moveTo>
                  <a:pt x="0" y="0"/>
                </a:moveTo>
                <a:lnTo>
                  <a:pt x="5384396" y="0"/>
                </a:lnTo>
                <a:lnTo>
                  <a:pt x="5384396" y="5178810"/>
                </a:lnTo>
                <a:lnTo>
                  <a:pt x="0" y="517881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 rot="1201821" flipH="1">
            <a:off x="2525139" y="4229075"/>
            <a:ext cx="335877" cy="319389"/>
          </a:xfrm>
          <a:custGeom>
            <a:avLst/>
            <a:gdLst/>
            <a:ahLst/>
            <a:cxnLst/>
            <a:rect l="l" t="t" r="r" b="b"/>
            <a:pathLst>
              <a:path w="503815" h="479083">
                <a:moveTo>
                  <a:pt x="503815" y="0"/>
                </a:moveTo>
                <a:lnTo>
                  <a:pt x="0" y="0"/>
                </a:lnTo>
                <a:lnTo>
                  <a:pt x="0" y="479082"/>
                </a:lnTo>
                <a:lnTo>
                  <a:pt x="503815" y="479082"/>
                </a:lnTo>
                <a:lnTo>
                  <a:pt x="503815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 rot="1749146">
            <a:off x="2938596" y="4009413"/>
            <a:ext cx="251055" cy="238731"/>
          </a:xfrm>
          <a:custGeom>
            <a:avLst/>
            <a:gdLst/>
            <a:ahLst/>
            <a:cxnLst/>
            <a:rect l="l" t="t" r="r" b="b"/>
            <a:pathLst>
              <a:path w="376583" h="358096">
                <a:moveTo>
                  <a:pt x="0" y="0"/>
                </a:moveTo>
                <a:lnTo>
                  <a:pt x="376584" y="0"/>
                </a:lnTo>
                <a:lnTo>
                  <a:pt x="376584" y="358096"/>
                </a:lnTo>
                <a:lnTo>
                  <a:pt x="0" y="35809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 rot="412636">
            <a:off x="2712302" y="3749728"/>
            <a:ext cx="174728" cy="166151"/>
          </a:xfrm>
          <a:custGeom>
            <a:avLst/>
            <a:gdLst/>
            <a:ahLst/>
            <a:cxnLst/>
            <a:rect l="l" t="t" r="r" b="b"/>
            <a:pathLst>
              <a:path w="262092" h="249226">
                <a:moveTo>
                  <a:pt x="0" y="0"/>
                </a:moveTo>
                <a:lnTo>
                  <a:pt x="262093" y="0"/>
                </a:lnTo>
                <a:lnTo>
                  <a:pt x="262093" y="249226"/>
                </a:lnTo>
                <a:lnTo>
                  <a:pt x="0" y="24922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2389723" y="2733855"/>
            <a:ext cx="606708" cy="620241"/>
          </a:xfrm>
          <a:custGeom>
            <a:avLst/>
            <a:gdLst/>
            <a:ahLst/>
            <a:cxnLst/>
            <a:rect l="l" t="t" r="r" b="b"/>
            <a:pathLst>
              <a:path w="910062" h="930361">
                <a:moveTo>
                  <a:pt x="0" y="0"/>
                </a:moveTo>
                <a:lnTo>
                  <a:pt x="910062" y="0"/>
                </a:lnTo>
                <a:lnTo>
                  <a:pt x="910062" y="930361"/>
                </a:lnTo>
                <a:lnTo>
                  <a:pt x="0" y="93036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 flipH="1" flipV="1">
            <a:off x="11546056" y="6212056"/>
            <a:ext cx="645944" cy="645944"/>
          </a:xfrm>
          <a:custGeom>
            <a:avLst/>
            <a:gdLst/>
            <a:ahLst/>
            <a:cxnLst/>
            <a:rect l="l" t="t" r="r" b="b"/>
            <a:pathLst>
              <a:path w="968916" h="968916">
                <a:moveTo>
                  <a:pt x="968916" y="968916"/>
                </a:moveTo>
                <a:lnTo>
                  <a:pt x="0" y="968916"/>
                </a:lnTo>
                <a:lnTo>
                  <a:pt x="0" y="0"/>
                </a:lnTo>
                <a:lnTo>
                  <a:pt x="968916" y="0"/>
                </a:lnTo>
                <a:lnTo>
                  <a:pt x="968916" y="968916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9693353" y="6080468"/>
            <a:ext cx="425967" cy="435468"/>
          </a:xfrm>
          <a:custGeom>
            <a:avLst/>
            <a:gdLst/>
            <a:ahLst/>
            <a:cxnLst/>
            <a:rect l="l" t="t" r="r" b="b"/>
            <a:pathLst>
              <a:path w="638950" h="653202">
                <a:moveTo>
                  <a:pt x="0" y="0"/>
                </a:moveTo>
                <a:lnTo>
                  <a:pt x="638951" y="0"/>
                </a:lnTo>
                <a:lnTo>
                  <a:pt x="638951" y="653202"/>
                </a:lnTo>
                <a:lnTo>
                  <a:pt x="0" y="65320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12" name="Freeform 12"/>
          <p:cNvSpPr/>
          <p:nvPr/>
        </p:nvSpPr>
        <p:spPr>
          <a:xfrm>
            <a:off x="0" y="0"/>
            <a:ext cx="606708" cy="620241"/>
          </a:xfrm>
          <a:custGeom>
            <a:avLst/>
            <a:gdLst/>
            <a:ahLst/>
            <a:cxnLst/>
            <a:rect l="l" t="t" r="r" b="b"/>
            <a:pathLst>
              <a:path w="910062" h="930361">
                <a:moveTo>
                  <a:pt x="0" y="0"/>
                </a:moveTo>
                <a:lnTo>
                  <a:pt x="910062" y="0"/>
                </a:lnTo>
                <a:lnTo>
                  <a:pt x="910062" y="930361"/>
                </a:lnTo>
                <a:lnTo>
                  <a:pt x="0" y="93036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Freeform 13"/>
          <p:cNvSpPr/>
          <p:nvPr/>
        </p:nvSpPr>
        <p:spPr>
          <a:xfrm flipH="1" flipV="1">
            <a:off x="-19618" y="1364145"/>
            <a:ext cx="645944" cy="645944"/>
          </a:xfrm>
          <a:custGeom>
            <a:avLst/>
            <a:gdLst/>
            <a:ahLst/>
            <a:cxnLst/>
            <a:rect l="l" t="t" r="r" b="b"/>
            <a:pathLst>
              <a:path w="968916" h="968916">
                <a:moveTo>
                  <a:pt x="968916" y="968917"/>
                </a:moveTo>
                <a:lnTo>
                  <a:pt x="0" y="968917"/>
                </a:lnTo>
                <a:lnTo>
                  <a:pt x="0" y="0"/>
                </a:lnTo>
                <a:lnTo>
                  <a:pt x="968916" y="0"/>
                </a:lnTo>
                <a:lnTo>
                  <a:pt x="968916" y="968917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4" name="Freeform 14"/>
          <p:cNvSpPr/>
          <p:nvPr/>
        </p:nvSpPr>
        <p:spPr>
          <a:xfrm rot="20579560">
            <a:off x="878675" y="821806"/>
            <a:ext cx="335877" cy="319389"/>
          </a:xfrm>
          <a:custGeom>
            <a:avLst/>
            <a:gdLst/>
            <a:ahLst/>
            <a:cxnLst/>
            <a:rect l="l" t="t" r="r" b="b"/>
            <a:pathLst>
              <a:path w="503815" h="479083">
                <a:moveTo>
                  <a:pt x="0" y="0"/>
                </a:moveTo>
                <a:lnTo>
                  <a:pt x="503816" y="0"/>
                </a:lnTo>
                <a:lnTo>
                  <a:pt x="503816" y="479082"/>
                </a:lnTo>
                <a:lnTo>
                  <a:pt x="0" y="479082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Freeform 15"/>
          <p:cNvSpPr/>
          <p:nvPr/>
        </p:nvSpPr>
        <p:spPr>
          <a:xfrm>
            <a:off x="413343" y="2812341"/>
            <a:ext cx="425967" cy="435468"/>
          </a:xfrm>
          <a:custGeom>
            <a:avLst/>
            <a:gdLst/>
            <a:ahLst/>
            <a:cxnLst/>
            <a:rect l="l" t="t" r="r" b="b"/>
            <a:pathLst>
              <a:path w="638950" h="653202">
                <a:moveTo>
                  <a:pt x="0" y="0"/>
                </a:moveTo>
                <a:lnTo>
                  <a:pt x="638950" y="0"/>
                </a:lnTo>
                <a:lnTo>
                  <a:pt x="638950" y="653202"/>
                </a:lnTo>
                <a:lnTo>
                  <a:pt x="0" y="653202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5C31665-D436-8749-6D2D-68789F1A2C99}"/>
              </a:ext>
            </a:extLst>
          </p:cNvPr>
          <p:cNvSpPr txBox="1">
            <a:spLocks/>
          </p:cNvSpPr>
          <p:nvPr/>
        </p:nvSpPr>
        <p:spPr>
          <a:xfrm>
            <a:off x="3645421" y="358503"/>
            <a:ext cx="4901157" cy="850260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500">
                <a:latin typeface="Aptos Display"/>
              </a:rPr>
              <a:t>What is a Parent Partner?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C6B3EB2-307D-97AC-FEEF-9CF43EE12115}"/>
              </a:ext>
            </a:extLst>
          </p:cNvPr>
          <p:cNvSpPr txBox="1">
            <a:spLocks/>
          </p:cNvSpPr>
          <p:nvPr/>
        </p:nvSpPr>
        <p:spPr>
          <a:xfrm>
            <a:off x="1636001" y="1388294"/>
            <a:ext cx="9842125" cy="139569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Aptos Display"/>
                <a:ea typeface="Calibri"/>
                <a:cs typeface="Calibri"/>
              </a:rPr>
              <a:t>A parent partner is an individual whose child has received care and can participate in quality improvement efforts to improve perinatal experiences for others. 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7F34869-723D-185A-A0AF-9E207A1A7D08}"/>
              </a:ext>
            </a:extLst>
          </p:cNvPr>
          <p:cNvSpPr txBox="1">
            <a:spLocks/>
          </p:cNvSpPr>
          <p:nvPr/>
        </p:nvSpPr>
        <p:spPr>
          <a:xfrm>
            <a:off x="5126778" y="2397942"/>
            <a:ext cx="4870344" cy="2683843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Aptos Display"/>
                <a:ea typeface="Calibri"/>
                <a:cs typeface="Calibri"/>
              </a:rPr>
              <a:t>A parent partner can engage with your hospital's QI team in a variety of ways:  </a:t>
            </a:r>
            <a:endParaRPr lang="en-US" sz="2400" dirty="0">
              <a:latin typeface="Aptos Display"/>
              <a:cs typeface="Calibri"/>
            </a:endParaRPr>
          </a:p>
          <a:p>
            <a:pPr marL="342900" indent="-342900">
              <a:buFont typeface="Arial"/>
              <a:buChar char="•"/>
            </a:pPr>
            <a:endParaRPr lang="en-US" sz="2400" dirty="0">
              <a:latin typeface="Aptos Display"/>
              <a:ea typeface="Calibri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 dirty="0">
                <a:latin typeface="Aptos Display"/>
                <a:ea typeface="Calibri"/>
                <a:cs typeface="Calibri"/>
              </a:rPr>
              <a:t>Create content / resources for fellow parents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>
                <a:latin typeface="Aptos Display"/>
                <a:ea typeface="Calibri"/>
                <a:cs typeface="Calibri"/>
              </a:rPr>
              <a:t>Provide feedback on patient-facing materials </a:t>
            </a:r>
            <a:endParaRPr lang="en-US" dirty="0">
              <a:latin typeface="Aptos Display"/>
              <a:cs typeface="Calibri"/>
            </a:endParaRPr>
          </a:p>
          <a:p>
            <a:pPr marL="342900" indent="-342900">
              <a:buFont typeface="Arial"/>
              <a:buChar char="•"/>
            </a:pPr>
            <a:r>
              <a:rPr lang="en-US" sz="2400" dirty="0">
                <a:latin typeface="Aptos Display"/>
                <a:ea typeface="Calibri"/>
                <a:cs typeface="Calibri"/>
              </a:rPr>
              <a:t>Assist in reviewing unit policies with an equity lens </a:t>
            </a:r>
          </a:p>
          <a:p>
            <a:pPr marL="342900" indent="-342900">
              <a:buFont typeface="Arial"/>
              <a:buChar char="•"/>
            </a:pPr>
            <a:endParaRPr lang="en-US" sz="2400" dirty="0">
              <a:latin typeface="Aptos Display"/>
              <a:ea typeface="Calibri"/>
              <a:cs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CE91104-909A-F425-AA3D-787C73B5252F}"/>
              </a:ext>
            </a:extLst>
          </p:cNvPr>
          <p:cNvSpPr txBox="1"/>
          <p:nvPr/>
        </p:nvSpPr>
        <p:spPr>
          <a:xfrm>
            <a:off x="4791230" y="2256816"/>
            <a:ext cx="5608539" cy="3749040"/>
          </a:xfrm>
          <a:prstGeom prst="rect">
            <a:avLst/>
          </a:prstGeom>
          <a:noFill/>
          <a:ln w="28575">
            <a:solidFill>
              <a:srgbClr val="AB5B4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20" name="Freeform 8">
            <a:extLst>
              <a:ext uri="{FF2B5EF4-FFF2-40B4-BE49-F238E27FC236}">
                <a16:creationId xmlns:a16="http://schemas.microsoft.com/office/drawing/2014/main" id="{FEF639C1-6107-FD7F-CE84-39DF81CAC3BD}"/>
              </a:ext>
            </a:extLst>
          </p:cNvPr>
          <p:cNvSpPr/>
          <p:nvPr/>
        </p:nvSpPr>
        <p:spPr>
          <a:xfrm>
            <a:off x="11174772" y="81095"/>
            <a:ext cx="606708" cy="620241"/>
          </a:xfrm>
          <a:custGeom>
            <a:avLst/>
            <a:gdLst/>
            <a:ahLst/>
            <a:cxnLst/>
            <a:rect l="l" t="t" r="r" b="b"/>
            <a:pathLst>
              <a:path w="910062" h="930361">
                <a:moveTo>
                  <a:pt x="0" y="0"/>
                </a:moveTo>
                <a:lnTo>
                  <a:pt x="910062" y="0"/>
                </a:lnTo>
                <a:lnTo>
                  <a:pt x="910062" y="930361"/>
                </a:lnTo>
                <a:lnTo>
                  <a:pt x="0" y="93036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1" name="Freeform 8">
            <a:extLst>
              <a:ext uri="{FF2B5EF4-FFF2-40B4-BE49-F238E27FC236}">
                <a16:creationId xmlns:a16="http://schemas.microsoft.com/office/drawing/2014/main" id="{30FB8BF2-546B-308C-1989-72ABF50C85FD}"/>
              </a:ext>
            </a:extLst>
          </p:cNvPr>
          <p:cNvSpPr/>
          <p:nvPr/>
        </p:nvSpPr>
        <p:spPr>
          <a:xfrm>
            <a:off x="2802239" y="266677"/>
            <a:ext cx="606708" cy="620241"/>
          </a:xfrm>
          <a:custGeom>
            <a:avLst/>
            <a:gdLst/>
            <a:ahLst/>
            <a:cxnLst/>
            <a:rect l="l" t="t" r="r" b="b"/>
            <a:pathLst>
              <a:path w="910062" h="930361">
                <a:moveTo>
                  <a:pt x="0" y="0"/>
                </a:moveTo>
                <a:lnTo>
                  <a:pt x="910062" y="0"/>
                </a:lnTo>
                <a:lnTo>
                  <a:pt x="910062" y="930361"/>
                </a:lnTo>
                <a:lnTo>
                  <a:pt x="0" y="93036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1591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E9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17719263">
            <a:off x="10198510" y="-2732370"/>
            <a:ext cx="3380273" cy="4292409"/>
          </a:xfrm>
          <a:custGeom>
            <a:avLst/>
            <a:gdLst/>
            <a:ahLst/>
            <a:cxnLst/>
            <a:rect l="l" t="t" r="r" b="b"/>
            <a:pathLst>
              <a:path w="5070409" h="6438614">
                <a:moveTo>
                  <a:pt x="0" y="0"/>
                </a:moveTo>
                <a:lnTo>
                  <a:pt x="5070408" y="0"/>
                </a:lnTo>
                <a:lnTo>
                  <a:pt x="5070408" y="6438615"/>
                </a:lnTo>
                <a:lnTo>
                  <a:pt x="0" y="6438615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 rot="1201821" flipH="1">
            <a:off x="2525139" y="4229075"/>
            <a:ext cx="335877" cy="319389"/>
          </a:xfrm>
          <a:custGeom>
            <a:avLst/>
            <a:gdLst/>
            <a:ahLst/>
            <a:cxnLst/>
            <a:rect l="l" t="t" r="r" b="b"/>
            <a:pathLst>
              <a:path w="503815" h="479083">
                <a:moveTo>
                  <a:pt x="503815" y="0"/>
                </a:moveTo>
                <a:lnTo>
                  <a:pt x="0" y="0"/>
                </a:lnTo>
                <a:lnTo>
                  <a:pt x="0" y="479082"/>
                </a:lnTo>
                <a:lnTo>
                  <a:pt x="503815" y="479082"/>
                </a:lnTo>
                <a:lnTo>
                  <a:pt x="503815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 rot="1749146">
            <a:off x="2938596" y="4009413"/>
            <a:ext cx="251055" cy="238731"/>
          </a:xfrm>
          <a:custGeom>
            <a:avLst/>
            <a:gdLst/>
            <a:ahLst/>
            <a:cxnLst/>
            <a:rect l="l" t="t" r="r" b="b"/>
            <a:pathLst>
              <a:path w="376583" h="358096">
                <a:moveTo>
                  <a:pt x="0" y="0"/>
                </a:moveTo>
                <a:lnTo>
                  <a:pt x="376584" y="0"/>
                </a:lnTo>
                <a:lnTo>
                  <a:pt x="376584" y="358096"/>
                </a:lnTo>
                <a:lnTo>
                  <a:pt x="0" y="35809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 rot="412636">
            <a:off x="2712302" y="3749728"/>
            <a:ext cx="174728" cy="166151"/>
          </a:xfrm>
          <a:custGeom>
            <a:avLst/>
            <a:gdLst/>
            <a:ahLst/>
            <a:cxnLst/>
            <a:rect l="l" t="t" r="r" b="b"/>
            <a:pathLst>
              <a:path w="262092" h="249226">
                <a:moveTo>
                  <a:pt x="0" y="0"/>
                </a:moveTo>
                <a:lnTo>
                  <a:pt x="262093" y="0"/>
                </a:lnTo>
                <a:lnTo>
                  <a:pt x="262093" y="249226"/>
                </a:lnTo>
                <a:lnTo>
                  <a:pt x="0" y="249226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 rot="20579560">
            <a:off x="10878635" y="4021386"/>
            <a:ext cx="335877" cy="319389"/>
          </a:xfrm>
          <a:custGeom>
            <a:avLst/>
            <a:gdLst/>
            <a:ahLst/>
            <a:cxnLst/>
            <a:rect l="l" t="t" r="r" b="b"/>
            <a:pathLst>
              <a:path w="503815" h="479083">
                <a:moveTo>
                  <a:pt x="0" y="0"/>
                </a:moveTo>
                <a:lnTo>
                  <a:pt x="503815" y="0"/>
                </a:lnTo>
                <a:lnTo>
                  <a:pt x="503815" y="479083"/>
                </a:lnTo>
                <a:lnTo>
                  <a:pt x="0" y="479083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Freeform 12"/>
          <p:cNvSpPr/>
          <p:nvPr/>
        </p:nvSpPr>
        <p:spPr>
          <a:xfrm>
            <a:off x="0" y="0"/>
            <a:ext cx="606708" cy="620241"/>
          </a:xfrm>
          <a:custGeom>
            <a:avLst/>
            <a:gdLst/>
            <a:ahLst/>
            <a:cxnLst/>
            <a:rect l="l" t="t" r="r" b="b"/>
            <a:pathLst>
              <a:path w="910062" h="930361">
                <a:moveTo>
                  <a:pt x="0" y="0"/>
                </a:moveTo>
                <a:lnTo>
                  <a:pt x="910062" y="0"/>
                </a:lnTo>
                <a:lnTo>
                  <a:pt x="910062" y="930361"/>
                </a:lnTo>
                <a:lnTo>
                  <a:pt x="0" y="930361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Freeform 13"/>
          <p:cNvSpPr/>
          <p:nvPr/>
        </p:nvSpPr>
        <p:spPr>
          <a:xfrm flipH="1" flipV="1">
            <a:off x="-19618" y="1364145"/>
            <a:ext cx="645944" cy="645944"/>
          </a:xfrm>
          <a:custGeom>
            <a:avLst/>
            <a:gdLst/>
            <a:ahLst/>
            <a:cxnLst/>
            <a:rect l="l" t="t" r="r" b="b"/>
            <a:pathLst>
              <a:path w="968916" h="968916">
                <a:moveTo>
                  <a:pt x="968916" y="968917"/>
                </a:moveTo>
                <a:lnTo>
                  <a:pt x="0" y="968917"/>
                </a:lnTo>
                <a:lnTo>
                  <a:pt x="0" y="0"/>
                </a:lnTo>
                <a:lnTo>
                  <a:pt x="968916" y="0"/>
                </a:lnTo>
                <a:lnTo>
                  <a:pt x="968916" y="968917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Freeform 15"/>
          <p:cNvSpPr/>
          <p:nvPr/>
        </p:nvSpPr>
        <p:spPr>
          <a:xfrm>
            <a:off x="413343" y="2812341"/>
            <a:ext cx="425967" cy="435468"/>
          </a:xfrm>
          <a:custGeom>
            <a:avLst/>
            <a:gdLst/>
            <a:ahLst/>
            <a:cxnLst/>
            <a:rect l="l" t="t" r="r" b="b"/>
            <a:pathLst>
              <a:path w="638950" h="653202">
                <a:moveTo>
                  <a:pt x="0" y="0"/>
                </a:moveTo>
                <a:lnTo>
                  <a:pt x="638950" y="0"/>
                </a:lnTo>
                <a:lnTo>
                  <a:pt x="638950" y="653202"/>
                </a:lnTo>
                <a:lnTo>
                  <a:pt x="0" y="653202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5C31665-D436-8749-6D2D-68789F1A2C99}"/>
              </a:ext>
            </a:extLst>
          </p:cNvPr>
          <p:cNvSpPr txBox="1">
            <a:spLocks/>
          </p:cNvSpPr>
          <p:nvPr/>
        </p:nvSpPr>
        <p:spPr>
          <a:xfrm>
            <a:off x="2834486" y="188227"/>
            <a:ext cx="6523028" cy="857251"/>
          </a:xfrm>
          <a:prstGeom prst="rect">
            <a:avLst/>
          </a:prstGeom>
        </p:spPr>
        <p:txBody>
          <a:bodyPr lIns="91440" tIns="45720" rIns="91440" bIns="45720" anchor="t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500" dirty="0">
                <a:latin typeface="Aptos Display"/>
              </a:rPr>
              <a:t>What is a Respectful Care Breakfast?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CAC816B-6924-0523-1395-5F6FF16BD722}"/>
              </a:ext>
            </a:extLst>
          </p:cNvPr>
          <p:cNvSpPr txBox="1">
            <a:spLocks/>
          </p:cNvSpPr>
          <p:nvPr/>
        </p:nvSpPr>
        <p:spPr>
          <a:xfrm>
            <a:off x="1174937" y="850362"/>
            <a:ext cx="9842125" cy="139569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dirty="0">
                <a:latin typeface="Aptos"/>
                <a:ea typeface="Calibri"/>
                <a:cs typeface="Calibri"/>
              </a:rPr>
              <a:t>A respectful care breakfast is a way to celebrate patient voices while also creating a space to share perspectives, experiences, and recommendations to promote respectful care. </a:t>
            </a:r>
            <a:endParaRPr lang="en-US" sz="2600" dirty="0">
              <a:latin typeface="Aptos"/>
            </a:endParaRPr>
          </a:p>
        </p:txBody>
      </p:sp>
      <p:pic>
        <p:nvPicPr>
          <p:cNvPr id="19" name="Picture 18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899C0BC2-46F8-45E3-86F6-33AF04475A04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1655" y="2232001"/>
            <a:ext cx="3757767" cy="2816321"/>
          </a:xfrm>
          <a:prstGeom prst="rect">
            <a:avLst/>
          </a:prstGeom>
        </p:spPr>
      </p:pic>
      <p:pic>
        <p:nvPicPr>
          <p:cNvPr id="3" name="Picture 2" descr="Image">
            <a:extLst>
              <a:ext uri="{FF2B5EF4-FFF2-40B4-BE49-F238E27FC236}">
                <a16:creationId xmlns:a16="http://schemas.microsoft.com/office/drawing/2014/main" id="{3E5CBCF0-54B1-3BF0-EFB4-C400AC865A57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398" y="2230211"/>
            <a:ext cx="3506561" cy="2676525"/>
          </a:xfrm>
          <a:prstGeom prst="rect">
            <a:avLst/>
          </a:prstGeom>
        </p:spPr>
      </p:pic>
      <p:pic>
        <p:nvPicPr>
          <p:cNvPr id="20" name="Picture 19" descr="A counter with food items on it&#10;&#10;Description automatically generated">
            <a:extLst>
              <a:ext uri="{FF2B5EF4-FFF2-40B4-BE49-F238E27FC236}">
                <a16:creationId xmlns:a16="http://schemas.microsoft.com/office/drawing/2014/main" id="{5B2FF721-7748-2831-3566-F8F739912A03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8492" y="2183319"/>
            <a:ext cx="3641765" cy="2903135"/>
          </a:xfrm>
          <a:prstGeom prst="rect">
            <a:avLst/>
          </a:prstGeom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BDCDB190-5F4C-04D9-57CB-8E9B97D27A9E}"/>
              </a:ext>
            </a:extLst>
          </p:cNvPr>
          <p:cNvSpPr txBox="1">
            <a:spLocks/>
          </p:cNvSpPr>
          <p:nvPr/>
        </p:nvSpPr>
        <p:spPr>
          <a:xfrm>
            <a:off x="131771" y="5489064"/>
            <a:ext cx="10979814" cy="66112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>
                <a:latin typeface="Aptos Display"/>
                <a:ea typeface="Lato Medium"/>
                <a:cs typeface="Lato Medium"/>
              </a:rPr>
              <a:t>Watch ILPQC's </a:t>
            </a:r>
            <a:r>
              <a:rPr lang="en-US" sz="1400" b="1">
                <a:latin typeface="Aptos Display"/>
                <a:ea typeface="Lato Medium"/>
                <a:cs typeface="Lato Medium"/>
              </a:rPr>
              <a:t>Birth Equity</a:t>
            </a:r>
            <a:r>
              <a:rPr lang="en-US" sz="1400">
                <a:latin typeface="Aptos Display"/>
                <a:ea typeface="Lato Medium"/>
                <a:cs typeface="Lato Medium"/>
              </a:rPr>
              <a:t> Webinars:</a:t>
            </a:r>
            <a:endParaRPr lang="en-US" sz="1400">
              <a:solidFill>
                <a:srgbClr val="1C498B"/>
              </a:solidFill>
              <a:latin typeface="Aptos Display"/>
              <a:ea typeface="Lato Medium"/>
              <a:cs typeface="Lato Medium"/>
            </a:endParaRPr>
          </a:p>
          <a:p>
            <a:pPr marL="457200" indent="-457200">
              <a:buFont typeface="Arial"/>
              <a:buChar char="•"/>
            </a:pPr>
            <a:r>
              <a:rPr lang="en-US" sz="1400">
                <a:latin typeface="Aptos Display"/>
                <a:ea typeface="Lato Medium"/>
                <a:cs typeface="Lato Medium"/>
                <a:hlinkClick r:id="rId17"/>
              </a:rPr>
              <a:t>Holding</a:t>
            </a:r>
            <a:r>
              <a:rPr lang="en-US" sz="1400">
                <a:latin typeface="Aptos Display"/>
                <a:ea typeface="+mj-lt"/>
                <a:cs typeface="+mj-lt"/>
                <a:hlinkClick r:id="rId17"/>
              </a:rPr>
              <a:t> Respectful Care Breakfasts</a:t>
            </a:r>
            <a:r>
              <a:rPr lang="en-US" sz="1400">
                <a:latin typeface="Aptos Display"/>
                <a:ea typeface="+mj-lt"/>
                <a:cs typeface="+mj-lt"/>
              </a:rPr>
              <a:t> – lessons learned </a:t>
            </a:r>
            <a:endParaRPr lang="en-US" sz="1400">
              <a:solidFill>
                <a:srgbClr val="1C498B"/>
              </a:solidFill>
              <a:latin typeface="Aptos Display"/>
              <a:ea typeface="Lato Medium"/>
              <a:cs typeface="Lato Medium"/>
            </a:endParaRPr>
          </a:p>
          <a:p>
            <a:pPr marL="457200" indent="-457200">
              <a:buFont typeface="Arial"/>
              <a:buChar char="•"/>
            </a:pPr>
            <a:r>
              <a:rPr lang="en-US" sz="1400">
                <a:solidFill>
                  <a:srgbClr val="79818A"/>
                </a:solidFill>
                <a:ea typeface="+mj-lt"/>
                <a:cs typeface="+mj-lt"/>
                <a:hlinkClick r:id="rId18"/>
              </a:rPr>
              <a:t>Actionable Respectful Care Strategies</a:t>
            </a:r>
            <a:r>
              <a:rPr lang="en-US" sz="1400">
                <a:solidFill>
                  <a:srgbClr val="79818A"/>
                </a:solidFill>
                <a:ea typeface="+mj-lt"/>
                <a:cs typeface="+mj-lt"/>
              </a:rPr>
              <a:t> </a:t>
            </a:r>
            <a:r>
              <a:rPr lang="en-US" sz="1400">
                <a:ea typeface="+mj-lt"/>
                <a:cs typeface="+mj-lt"/>
              </a:rPr>
              <a:t>and PREM Survey Implementation</a:t>
            </a:r>
            <a:endParaRPr lang="en-US" sz="1400" i="1">
              <a:latin typeface="Aptos Display"/>
              <a:ea typeface="Lato Medium"/>
              <a:cs typeface="Lato Medium"/>
            </a:endParaRPr>
          </a:p>
          <a:p>
            <a:endParaRPr lang="en-US" sz="1400" i="1">
              <a:solidFill>
                <a:srgbClr val="000000"/>
              </a:solidFill>
              <a:latin typeface="Aptos Display"/>
              <a:ea typeface="Lato Medium"/>
              <a:cs typeface="Lato Medium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5A55B606-5CEB-028F-DE4E-D79BD4937008}"/>
              </a:ext>
            </a:extLst>
          </p:cNvPr>
          <p:cNvSpPr txBox="1">
            <a:spLocks/>
          </p:cNvSpPr>
          <p:nvPr/>
        </p:nvSpPr>
        <p:spPr>
          <a:xfrm>
            <a:off x="0" y="5085963"/>
            <a:ext cx="6532530" cy="1299346"/>
          </a:xfrm>
          <a:prstGeom prst="rect">
            <a:avLst/>
          </a:prstGeom>
          <a:noFill/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i="1">
                <a:solidFill>
                  <a:srgbClr val="1C498B"/>
                </a:solidFill>
                <a:latin typeface="Aptos Display"/>
                <a:ea typeface="Lato Medium"/>
                <a:cs typeface="Lato Medium"/>
              </a:rPr>
              <a:t>Respectful Care Practices and  Breakfast Resources</a:t>
            </a:r>
          </a:p>
        </p:txBody>
      </p:sp>
    </p:spTree>
    <p:extLst>
      <p:ext uri="{BB962C8B-B14F-4D97-AF65-F5344CB8AC3E}">
        <p14:creationId xmlns:p14="http://schemas.microsoft.com/office/powerpoint/2010/main" val="5775783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E9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17719263">
            <a:off x="10198510" y="-2732370"/>
            <a:ext cx="3380273" cy="4292409"/>
          </a:xfrm>
          <a:custGeom>
            <a:avLst/>
            <a:gdLst/>
            <a:ahLst/>
            <a:cxnLst/>
            <a:rect l="l" t="t" r="r" b="b"/>
            <a:pathLst>
              <a:path w="5070409" h="6438614">
                <a:moveTo>
                  <a:pt x="0" y="0"/>
                </a:moveTo>
                <a:lnTo>
                  <a:pt x="5070408" y="0"/>
                </a:lnTo>
                <a:lnTo>
                  <a:pt x="5070408" y="6438615"/>
                </a:lnTo>
                <a:lnTo>
                  <a:pt x="0" y="6438615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 rot="1154126">
            <a:off x="11543749" y="4664810"/>
            <a:ext cx="509055" cy="484065"/>
          </a:xfrm>
          <a:custGeom>
            <a:avLst/>
            <a:gdLst/>
            <a:ahLst/>
            <a:cxnLst/>
            <a:rect l="l" t="t" r="r" b="b"/>
            <a:pathLst>
              <a:path w="763583" h="726098">
                <a:moveTo>
                  <a:pt x="0" y="0"/>
                </a:moveTo>
                <a:lnTo>
                  <a:pt x="763583" y="0"/>
                </a:lnTo>
                <a:lnTo>
                  <a:pt x="763583" y="726098"/>
                </a:lnTo>
                <a:lnTo>
                  <a:pt x="0" y="726098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11585292" y="2937688"/>
            <a:ext cx="606708" cy="620241"/>
          </a:xfrm>
          <a:custGeom>
            <a:avLst/>
            <a:gdLst/>
            <a:ahLst/>
            <a:cxnLst/>
            <a:rect l="l" t="t" r="r" b="b"/>
            <a:pathLst>
              <a:path w="910062" h="930361">
                <a:moveTo>
                  <a:pt x="0" y="0"/>
                </a:moveTo>
                <a:lnTo>
                  <a:pt x="910062" y="0"/>
                </a:lnTo>
                <a:lnTo>
                  <a:pt x="910062" y="930361"/>
                </a:lnTo>
                <a:lnTo>
                  <a:pt x="0" y="930361"/>
                </a:lnTo>
                <a:lnTo>
                  <a:pt x="0" y="0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 flipH="1" flipV="1">
            <a:off x="11546056" y="6212056"/>
            <a:ext cx="645944" cy="645944"/>
          </a:xfrm>
          <a:custGeom>
            <a:avLst/>
            <a:gdLst/>
            <a:ahLst/>
            <a:cxnLst/>
            <a:rect l="l" t="t" r="r" b="b"/>
            <a:pathLst>
              <a:path w="968916" h="968916">
                <a:moveTo>
                  <a:pt x="968916" y="968916"/>
                </a:moveTo>
                <a:lnTo>
                  <a:pt x="0" y="968916"/>
                </a:lnTo>
                <a:lnTo>
                  <a:pt x="0" y="0"/>
                </a:lnTo>
                <a:lnTo>
                  <a:pt x="968916" y="0"/>
                </a:lnTo>
                <a:lnTo>
                  <a:pt x="968916" y="968916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 rot="20579560">
            <a:off x="10878635" y="4021386"/>
            <a:ext cx="335877" cy="319389"/>
          </a:xfrm>
          <a:custGeom>
            <a:avLst/>
            <a:gdLst/>
            <a:ahLst/>
            <a:cxnLst/>
            <a:rect l="l" t="t" r="r" b="b"/>
            <a:pathLst>
              <a:path w="503815" h="479083">
                <a:moveTo>
                  <a:pt x="0" y="0"/>
                </a:moveTo>
                <a:lnTo>
                  <a:pt x="503815" y="0"/>
                </a:lnTo>
                <a:lnTo>
                  <a:pt x="503815" y="479083"/>
                </a:lnTo>
                <a:lnTo>
                  <a:pt x="0" y="479083"/>
                </a:lnTo>
                <a:lnTo>
                  <a:pt x="0" y="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11052253" y="5522015"/>
            <a:ext cx="425967" cy="435468"/>
          </a:xfrm>
          <a:custGeom>
            <a:avLst/>
            <a:gdLst/>
            <a:ahLst/>
            <a:cxnLst/>
            <a:rect l="l" t="t" r="r" b="b"/>
            <a:pathLst>
              <a:path w="638950" h="653202">
                <a:moveTo>
                  <a:pt x="0" y="0"/>
                </a:moveTo>
                <a:lnTo>
                  <a:pt x="638951" y="0"/>
                </a:lnTo>
                <a:lnTo>
                  <a:pt x="638951" y="653202"/>
                </a:lnTo>
                <a:lnTo>
                  <a:pt x="0" y="653202"/>
                </a:lnTo>
                <a:lnTo>
                  <a:pt x="0" y="0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21A3C2-2CB8-A17E-AD20-892043696736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" y="-35579"/>
            <a:ext cx="4662499" cy="6583296"/>
          </a:xfrm>
          <a:prstGeom prst="rect">
            <a:avLst/>
          </a:prstGeom>
        </p:spPr>
      </p:pic>
      <p:pic>
        <p:nvPicPr>
          <p:cNvPr id="3" name="Picture 2" descr="A questionnaire with text on it&#10;&#10;Description automatically generated">
            <a:extLst>
              <a:ext uri="{FF2B5EF4-FFF2-40B4-BE49-F238E27FC236}">
                <a16:creationId xmlns:a16="http://schemas.microsoft.com/office/drawing/2014/main" id="{2A06B5F5-C4C1-5DAD-9C15-AE2F89B99E56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3756" y="-10694"/>
            <a:ext cx="5302489" cy="65451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45E5916-D3F5-C2C7-9AB7-A194D0804428}"/>
              </a:ext>
            </a:extLst>
          </p:cNvPr>
          <p:cNvSpPr txBox="1"/>
          <p:nvPr/>
        </p:nvSpPr>
        <p:spPr>
          <a:xfrm>
            <a:off x="2" y="6545179"/>
            <a:ext cx="454793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/>
              <a:t>ILPQC Respectful Care Breakfast Planning Fly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1289B6-AFF2-00E4-D929-35D362E84B8E}"/>
              </a:ext>
            </a:extLst>
          </p:cNvPr>
          <p:cNvSpPr txBox="1"/>
          <p:nvPr/>
        </p:nvSpPr>
        <p:spPr>
          <a:xfrm>
            <a:off x="7251033" y="6545178"/>
            <a:ext cx="4547935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 b="1" dirty="0"/>
              <a:t>ILPQC Respectful Care Breakfast Planning Guide</a:t>
            </a:r>
          </a:p>
        </p:txBody>
      </p:sp>
    </p:spTree>
    <p:extLst>
      <p:ext uri="{BB962C8B-B14F-4D97-AF65-F5344CB8AC3E}">
        <p14:creationId xmlns:p14="http://schemas.microsoft.com/office/powerpoint/2010/main" val="309243662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3E9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17719263">
            <a:off x="10198510" y="-2732370"/>
            <a:ext cx="3380273" cy="4292409"/>
          </a:xfrm>
          <a:custGeom>
            <a:avLst/>
            <a:gdLst/>
            <a:ahLst/>
            <a:cxnLst/>
            <a:rect l="l" t="t" r="r" b="b"/>
            <a:pathLst>
              <a:path w="5070409" h="6438614">
                <a:moveTo>
                  <a:pt x="0" y="0"/>
                </a:moveTo>
                <a:lnTo>
                  <a:pt x="5070408" y="0"/>
                </a:lnTo>
                <a:lnTo>
                  <a:pt x="5070408" y="6438615"/>
                </a:lnTo>
                <a:lnTo>
                  <a:pt x="0" y="6438615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 rot="1154126">
            <a:off x="11543749" y="4664810"/>
            <a:ext cx="509055" cy="484065"/>
          </a:xfrm>
          <a:custGeom>
            <a:avLst/>
            <a:gdLst/>
            <a:ahLst/>
            <a:cxnLst/>
            <a:rect l="l" t="t" r="r" b="b"/>
            <a:pathLst>
              <a:path w="763583" h="726098">
                <a:moveTo>
                  <a:pt x="0" y="0"/>
                </a:moveTo>
                <a:lnTo>
                  <a:pt x="763583" y="0"/>
                </a:lnTo>
                <a:lnTo>
                  <a:pt x="763583" y="726098"/>
                </a:lnTo>
                <a:lnTo>
                  <a:pt x="0" y="726098"/>
                </a:lnTo>
                <a:lnTo>
                  <a:pt x="0" y="0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11585292" y="2937688"/>
            <a:ext cx="606708" cy="620241"/>
          </a:xfrm>
          <a:custGeom>
            <a:avLst/>
            <a:gdLst/>
            <a:ahLst/>
            <a:cxnLst/>
            <a:rect l="l" t="t" r="r" b="b"/>
            <a:pathLst>
              <a:path w="910062" h="930361">
                <a:moveTo>
                  <a:pt x="0" y="0"/>
                </a:moveTo>
                <a:lnTo>
                  <a:pt x="910062" y="0"/>
                </a:lnTo>
                <a:lnTo>
                  <a:pt x="910062" y="930361"/>
                </a:lnTo>
                <a:lnTo>
                  <a:pt x="0" y="930361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 flipH="1" flipV="1">
            <a:off x="11546056" y="6212056"/>
            <a:ext cx="645944" cy="645944"/>
          </a:xfrm>
          <a:custGeom>
            <a:avLst/>
            <a:gdLst/>
            <a:ahLst/>
            <a:cxnLst/>
            <a:rect l="l" t="t" r="r" b="b"/>
            <a:pathLst>
              <a:path w="968916" h="968916">
                <a:moveTo>
                  <a:pt x="968916" y="968916"/>
                </a:moveTo>
                <a:lnTo>
                  <a:pt x="0" y="968916"/>
                </a:lnTo>
                <a:lnTo>
                  <a:pt x="0" y="0"/>
                </a:lnTo>
                <a:lnTo>
                  <a:pt x="968916" y="0"/>
                </a:lnTo>
                <a:lnTo>
                  <a:pt x="968916" y="968916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 rot="20579560">
            <a:off x="10878635" y="4021386"/>
            <a:ext cx="335877" cy="319389"/>
          </a:xfrm>
          <a:custGeom>
            <a:avLst/>
            <a:gdLst/>
            <a:ahLst/>
            <a:cxnLst/>
            <a:rect l="l" t="t" r="r" b="b"/>
            <a:pathLst>
              <a:path w="503815" h="479083">
                <a:moveTo>
                  <a:pt x="0" y="0"/>
                </a:moveTo>
                <a:lnTo>
                  <a:pt x="503815" y="0"/>
                </a:lnTo>
                <a:lnTo>
                  <a:pt x="503815" y="479083"/>
                </a:lnTo>
                <a:lnTo>
                  <a:pt x="0" y="479083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11052253" y="5522015"/>
            <a:ext cx="425967" cy="435468"/>
          </a:xfrm>
          <a:custGeom>
            <a:avLst/>
            <a:gdLst/>
            <a:ahLst/>
            <a:cxnLst/>
            <a:rect l="l" t="t" r="r" b="b"/>
            <a:pathLst>
              <a:path w="638950" h="653202">
                <a:moveTo>
                  <a:pt x="0" y="0"/>
                </a:moveTo>
                <a:lnTo>
                  <a:pt x="638951" y="0"/>
                </a:lnTo>
                <a:lnTo>
                  <a:pt x="638951" y="653202"/>
                </a:lnTo>
                <a:lnTo>
                  <a:pt x="0" y="653202"/>
                </a:lnTo>
                <a:lnTo>
                  <a:pt x="0" y="0"/>
                </a:lnTo>
                <a:close/>
              </a:path>
            </a:pathLst>
          </a:custGeom>
          <a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20" name="Picture 19" descr="A close-up of a flyer&#10;&#10;Description automatically generated">
            <a:extLst>
              <a:ext uri="{FF2B5EF4-FFF2-40B4-BE49-F238E27FC236}">
                <a16:creationId xmlns:a16="http://schemas.microsoft.com/office/drawing/2014/main" id="{D124886E-C4B8-095C-738B-6B6A9953810B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0"/>
          <a:stretch/>
        </p:blipFill>
        <p:spPr>
          <a:xfrm>
            <a:off x="-6991" y="-6678"/>
            <a:ext cx="4604754" cy="6879792"/>
          </a:xfrm>
          <a:prstGeom prst="rect">
            <a:avLst/>
          </a:prstGeom>
          <a:ln>
            <a:noFill/>
          </a:ln>
        </p:spPr>
      </p:pic>
      <p:pic>
        <p:nvPicPr>
          <p:cNvPr id="22" name="Picture 21" descr="A screenshot of a website&#10;&#10;Description automatically generated">
            <a:extLst>
              <a:ext uri="{FF2B5EF4-FFF2-40B4-BE49-F238E27FC236}">
                <a16:creationId xmlns:a16="http://schemas.microsoft.com/office/drawing/2014/main" id="{B21C32A4-38B5-7ADC-7096-9FFA131BB615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93566" y="136934"/>
            <a:ext cx="7457223" cy="4341108"/>
          </a:xfrm>
          <a:prstGeom prst="rect">
            <a:avLst/>
          </a:prstGeom>
        </p:spPr>
      </p:pic>
      <p:pic>
        <p:nvPicPr>
          <p:cNvPr id="23" name="Picture 22" descr="A screenshot of a white and blue text&#10;&#10;Description automatically generated">
            <a:extLst>
              <a:ext uri="{FF2B5EF4-FFF2-40B4-BE49-F238E27FC236}">
                <a16:creationId xmlns:a16="http://schemas.microsoft.com/office/drawing/2014/main" id="{813D3174-ED82-33FE-2E19-ED4B8B2CE3EC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3566" y="4645916"/>
            <a:ext cx="4254022" cy="1335699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026DD136-8CB5-3DD1-72B2-D5B89CA1E1DF}"/>
              </a:ext>
            </a:extLst>
          </p:cNvPr>
          <p:cNvSpPr txBox="1"/>
          <p:nvPr/>
        </p:nvSpPr>
        <p:spPr>
          <a:xfrm>
            <a:off x="4983844" y="5778218"/>
            <a:ext cx="3673465" cy="274320"/>
          </a:xfrm>
          <a:prstGeom prst="rect">
            <a:avLst/>
          </a:prstGeom>
          <a:noFill/>
          <a:ln w="28575">
            <a:solidFill>
              <a:srgbClr val="F0678F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314CCBFA-4973-8F1D-7BAD-9109FD0CDFC7}"/>
              </a:ext>
            </a:extLst>
          </p:cNvPr>
          <p:cNvCxnSpPr/>
          <p:nvPr/>
        </p:nvCxnSpPr>
        <p:spPr>
          <a:xfrm flipH="1">
            <a:off x="4693566" y="6413500"/>
            <a:ext cx="3320134" cy="0"/>
          </a:xfrm>
          <a:prstGeom prst="straightConnector1">
            <a:avLst/>
          </a:prstGeom>
          <a:ln w="28575">
            <a:solidFill>
              <a:srgbClr val="F0678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EDD02C21-E425-7FCB-4627-A10F92D89B11}"/>
              </a:ext>
            </a:extLst>
          </p:cNvPr>
          <p:cNvSpPr txBox="1"/>
          <p:nvPr/>
        </p:nvSpPr>
        <p:spPr>
          <a:xfrm>
            <a:off x="8178224" y="6259611"/>
            <a:ext cx="28683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ESSI Adaptation available on website</a:t>
            </a:r>
          </a:p>
        </p:txBody>
      </p:sp>
    </p:spTree>
    <p:extLst>
      <p:ext uri="{BB962C8B-B14F-4D97-AF65-F5344CB8AC3E}">
        <p14:creationId xmlns:p14="http://schemas.microsoft.com/office/powerpoint/2010/main" val="394191566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3310" y="149474"/>
            <a:ext cx="9365380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Lato Medium"/>
              </a:rPr>
              <a:t>POLL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413310" y="2447584"/>
            <a:ext cx="9365380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ptos"/>
                <a:ea typeface="Lato"/>
                <a:cs typeface="Lato"/>
              </a:rPr>
              <a:t>What’s one thing that ILPQC can do / create to help you continue your Respectful Care Implementation?</a:t>
            </a:r>
          </a:p>
          <a:p>
            <a:endParaRPr lang="en-US" dirty="0">
              <a:latin typeface="Aptos"/>
              <a:ea typeface="Lato"/>
              <a:cs typeface="Lato"/>
            </a:endParaRPr>
          </a:p>
        </p:txBody>
      </p:sp>
      <p:sp>
        <p:nvSpPr>
          <p:cNvPr id="7" name="Subtitle 3">
            <a:extLst>
              <a:ext uri="{FF2B5EF4-FFF2-40B4-BE49-F238E27FC236}">
                <a16:creationId xmlns:a16="http://schemas.microsoft.com/office/drawing/2014/main" id="{D0D5215A-A7B9-1623-DE75-470D840F9C70}"/>
              </a:ext>
            </a:extLst>
          </p:cNvPr>
          <p:cNvSpPr txBox="1">
            <a:spLocks/>
          </p:cNvSpPr>
          <p:nvPr/>
        </p:nvSpPr>
        <p:spPr>
          <a:xfrm>
            <a:off x="1298660" y="2666385"/>
            <a:ext cx="9365380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23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46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69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91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11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har char="•"/>
            </a:pPr>
            <a:endParaRPr lang="en-US" dirty="0">
              <a:latin typeface="Aptos"/>
              <a:ea typeface="Lato"/>
              <a:cs typeface="Lato"/>
            </a:endParaRPr>
          </a:p>
          <a:p>
            <a:endParaRPr lang="en-US" dirty="0">
              <a:latin typeface="Aptos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0287843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27">
            <a:extLst>
              <a:ext uri="{FF2B5EF4-FFF2-40B4-BE49-F238E27FC236}">
                <a16:creationId xmlns:a16="http://schemas.microsoft.com/office/drawing/2014/main" id="{2DF371C9-2B4A-FF6D-9BD9-EF9C842CB440}"/>
              </a:ext>
            </a:extLst>
          </p:cNvPr>
          <p:cNvGrpSpPr/>
          <p:nvPr/>
        </p:nvGrpSpPr>
        <p:grpSpPr>
          <a:xfrm>
            <a:off x="2865096" y="593331"/>
            <a:ext cx="1368800" cy="1368800"/>
            <a:chOff x="0" y="0"/>
            <a:chExt cx="812800" cy="812800"/>
          </a:xfrm>
        </p:grpSpPr>
        <p:sp>
          <p:nvSpPr>
            <p:cNvPr id="47" name="Freeform 28">
              <a:extLst>
                <a:ext uri="{FF2B5EF4-FFF2-40B4-BE49-F238E27FC236}">
                  <a16:creationId xmlns:a16="http://schemas.microsoft.com/office/drawing/2014/main" id="{C4C642E2-9FC9-9E7D-EE94-5C8845BA01F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TextBox 29">
              <a:extLst>
                <a:ext uri="{FF2B5EF4-FFF2-40B4-BE49-F238E27FC236}">
                  <a16:creationId xmlns:a16="http://schemas.microsoft.com/office/drawing/2014/main" id="{73B93FEF-DCE6-F2A4-F38A-12E1819C303D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39" name="Group 27">
            <a:extLst>
              <a:ext uri="{FF2B5EF4-FFF2-40B4-BE49-F238E27FC236}">
                <a16:creationId xmlns:a16="http://schemas.microsoft.com/office/drawing/2014/main" id="{4494A9DD-1216-AE19-23AE-5239BEF53D53}"/>
              </a:ext>
            </a:extLst>
          </p:cNvPr>
          <p:cNvGrpSpPr/>
          <p:nvPr/>
        </p:nvGrpSpPr>
        <p:grpSpPr>
          <a:xfrm>
            <a:off x="5219131" y="1960849"/>
            <a:ext cx="1368800" cy="1368800"/>
            <a:chOff x="0" y="0"/>
            <a:chExt cx="812800" cy="812800"/>
          </a:xfrm>
        </p:grpSpPr>
        <p:sp>
          <p:nvSpPr>
            <p:cNvPr id="40" name="Freeform 28">
              <a:extLst>
                <a:ext uri="{FF2B5EF4-FFF2-40B4-BE49-F238E27FC236}">
                  <a16:creationId xmlns:a16="http://schemas.microsoft.com/office/drawing/2014/main" id="{0122EA14-8B71-6334-01D8-5B59FCE0EF1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TextBox 29">
              <a:extLst>
                <a:ext uri="{FF2B5EF4-FFF2-40B4-BE49-F238E27FC236}">
                  <a16:creationId xmlns:a16="http://schemas.microsoft.com/office/drawing/2014/main" id="{9D3B4443-6EEB-0B53-076D-21A781ABD4E8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32" name="Group 27">
            <a:extLst>
              <a:ext uri="{FF2B5EF4-FFF2-40B4-BE49-F238E27FC236}">
                <a16:creationId xmlns:a16="http://schemas.microsoft.com/office/drawing/2014/main" id="{85F94123-366B-7412-A81F-C981556035FC}"/>
              </a:ext>
            </a:extLst>
          </p:cNvPr>
          <p:cNvGrpSpPr/>
          <p:nvPr/>
        </p:nvGrpSpPr>
        <p:grpSpPr>
          <a:xfrm>
            <a:off x="7239792" y="593331"/>
            <a:ext cx="1368800" cy="1368800"/>
            <a:chOff x="0" y="0"/>
            <a:chExt cx="812800" cy="812800"/>
          </a:xfrm>
        </p:grpSpPr>
        <p:sp>
          <p:nvSpPr>
            <p:cNvPr id="33" name="Freeform 28">
              <a:extLst>
                <a:ext uri="{FF2B5EF4-FFF2-40B4-BE49-F238E27FC236}">
                  <a16:creationId xmlns:a16="http://schemas.microsoft.com/office/drawing/2014/main" id="{DF6A49CE-5EA6-2F3F-9359-F7830E7FADD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TextBox 29">
              <a:extLst>
                <a:ext uri="{FF2B5EF4-FFF2-40B4-BE49-F238E27FC236}">
                  <a16:creationId xmlns:a16="http://schemas.microsoft.com/office/drawing/2014/main" id="{0BB96CA5-9824-3D38-593F-0BB6A4CA882B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8" name="Group 27">
            <a:extLst>
              <a:ext uri="{FF2B5EF4-FFF2-40B4-BE49-F238E27FC236}">
                <a16:creationId xmlns:a16="http://schemas.microsoft.com/office/drawing/2014/main" id="{28E2C77A-3A50-C14B-7EA2-4B3D945C1947}"/>
              </a:ext>
            </a:extLst>
          </p:cNvPr>
          <p:cNvGrpSpPr/>
          <p:nvPr/>
        </p:nvGrpSpPr>
        <p:grpSpPr>
          <a:xfrm>
            <a:off x="293876" y="5137259"/>
            <a:ext cx="1368800" cy="1368800"/>
            <a:chOff x="0" y="0"/>
            <a:chExt cx="812800" cy="812800"/>
          </a:xfrm>
        </p:grpSpPr>
        <p:sp>
          <p:nvSpPr>
            <p:cNvPr id="16" name="Freeform 28">
              <a:extLst>
                <a:ext uri="{FF2B5EF4-FFF2-40B4-BE49-F238E27FC236}">
                  <a16:creationId xmlns:a16="http://schemas.microsoft.com/office/drawing/2014/main" id="{EF4E32E3-B6A3-69FB-2D64-21EC333F737E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TextBox 29">
              <a:extLst>
                <a:ext uri="{FF2B5EF4-FFF2-40B4-BE49-F238E27FC236}">
                  <a16:creationId xmlns:a16="http://schemas.microsoft.com/office/drawing/2014/main" id="{96051964-5BD5-CAFE-A858-C604E9785FF0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2" name="Group 27">
            <a:extLst>
              <a:ext uri="{FF2B5EF4-FFF2-40B4-BE49-F238E27FC236}">
                <a16:creationId xmlns:a16="http://schemas.microsoft.com/office/drawing/2014/main" id="{433CFA9E-320B-58FC-9ECC-48E3063F2125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20" name="Freeform 28">
              <a:extLst>
                <a:ext uri="{FF2B5EF4-FFF2-40B4-BE49-F238E27FC236}">
                  <a16:creationId xmlns:a16="http://schemas.microsoft.com/office/drawing/2014/main" id="{32A5B7D6-7FCC-A165-D279-82EBBCF13D56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TextBox 29">
              <a:extLst>
                <a:ext uri="{FF2B5EF4-FFF2-40B4-BE49-F238E27FC236}">
                  <a16:creationId xmlns:a16="http://schemas.microsoft.com/office/drawing/2014/main" id="{A76A109A-2747-CB8C-1EA8-6F5408C4BA61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3" name="Group 27">
            <a:extLst>
              <a:ext uri="{FF2B5EF4-FFF2-40B4-BE49-F238E27FC236}">
                <a16:creationId xmlns:a16="http://schemas.microsoft.com/office/drawing/2014/main" id="{46DA4572-03D2-AAFE-70C2-F202F8C4E37B}"/>
              </a:ext>
            </a:extLst>
          </p:cNvPr>
          <p:cNvGrpSpPr/>
          <p:nvPr/>
        </p:nvGrpSpPr>
        <p:grpSpPr>
          <a:xfrm>
            <a:off x="-312172" y="130688"/>
            <a:ext cx="1368800" cy="1368800"/>
            <a:chOff x="0" y="0"/>
            <a:chExt cx="812800" cy="812800"/>
          </a:xfrm>
        </p:grpSpPr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AC7FD3BC-99EA-E53D-7FC5-5B6688BA23A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TextBox 29">
              <a:extLst>
                <a:ext uri="{FF2B5EF4-FFF2-40B4-BE49-F238E27FC236}">
                  <a16:creationId xmlns:a16="http://schemas.microsoft.com/office/drawing/2014/main" id="{6ED7F2EA-1453-C500-B885-DC0BC6AC8F40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29" name="Group 27">
            <a:extLst>
              <a:ext uri="{FF2B5EF4-FFF2-40B4-BE49-F238E27FC236}">
                <a16:creationId xmlns:a16="http://schemas.microsoft.com/office/drawing/2014/main" id="{F0446C2D-8F8F-408F-DB80-92D56C158346}"/>
              </a:ext>
            </a:extLst>
          </p:cNvPr>
          <p:cNvGrpSpPr/>
          <p:nvPr/>
        </p:nvGrpSpPr>
        <p:grpSpPr>
          <a:xfrm>
            <a:off x="11219882" y="-774188"/>
            <a:ext cx="1368800" cy="1368800"/>
            <a:chOff x="0" y="0"/>
            <a:chExt cx="812800" cy="812800"/>
          </a:xfrm>
        </p:grpSpPr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BC6B0F52-FB0C-A3ED-6294-C7E9F4B10341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TextBox 29">
              <a:extLst>
                <a:ext uri="{FF2B5EF4-FFF2-40B4-BE49-F238E27FC236}">
                  <a16:creationId xmlns:a16="http://schemas.microsoft.com/office/drawing/2014/main" id="{1FC0378E-BF89-CF66-C11C-8573180A1AB3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61" name="Group 27">
            <a:extLst>
              <a:ext uri="{FF2B5EF4-FFF2-40B4-BE49-F238E27FC236}">
                <a16:creationId xmlns:a16="http://schemas.microsoft.com/office/drawing/2014/main" id="{0F71C00B-34DB-8478-554E-9D864A57C624}"/>
              </a:ext>
            </a:extLst>
          </p:cNvPr>
          <p:cNvGrpSpPr/>
          <p:nvPr/>
        </p:nvGrpSpPr>
        <p:grpSpPr>
          <a:xfrm>
            <a:off x="5104001" y="4456902"/>
            <a:ext cx="1368800" cy="1368800"/>
            <a:chOff x="0" y="0"/>
            <a:chExt cx="812800" cy="812800"/>
          </a:xfrm>
        </p:grpSpPr>
        <p:sp>
          <p:nvSpPr>
            <p:cNvPr id="62" name="Freeform 28">
              <a:extLst>
                <a:ext uri="{FF2B5EF4-FFF2-40B4-BE49-F238E27FC236}">
                  <a16:creationId xmlns:a16="http://schemas.microsoft.com/office/drawing/2014/main" id="{32AE31E1-1565-DF02-6A58-FBBC2D379BD7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TextBox 29">
              <a:extLst>
                <a:ext uri="{FF2B5EF4-FFF2-40B4-BE49-F238E27FC236}">
                  <a16:creationId xmlns:a16="http://schemas.microsoft.com/office/drawing/2014/main" id="{33D338BB-AD95-4D8D-1E75-12BE138E5961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9D95AEA-9414-067A-EC15-AD1D0B59A1AA}"/>
              </a:ext>
            </a:extLst>
          </p:cNvPr>
          <p:cNvSpPr txBox="1"/>
          <p:nvPr/>
        </p:nvSpPr>
        <p:spPr>
          <a:xfrm>
            <a:off x="2374764" y="392471"/>
            <a:ext cx="46118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Current Resource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25B6E6B-4689-8B59-B235-C6D5B466F43E}"/>
              </a:ext>
            </a:extLst>
          </p:cNvPr>
          <p:cNvSpPr txBox="1"/>
          <p:nvPr/>
        </p:nvSpPr>
        <p:spPr>
          <a:xfrm>
            <a:off x="2412491" y="1195296"/>
            <a:ext cx="53125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5 Steps to Engaging a Parent Part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ESSI Respectful Care Commitments</a:t>
            </a:r>
          </a:p>
        </p:txBody>
      </p:sp>
      <p:pic>
        <p:nvPicPr>
          <p:cNvPr id="4" name="Picture 3" descr="A close-up of a flyer&#10;&#10;Description automatically generated">
            <a:extLst>
              <a:ext uri="{FF2B5EF4-FFF2-40B4-BE49-F238E27FC236}">
                <a16:creationId xmlns:a16="http://schemas.microsoft.com/office/drawing/2014/main" id="{5D6CF088-7D92-923E-CD3F-6AC8775AE9A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50"/>
          <a:stretch/>
        </p:blipFill>
        <p:spPr>
          <a:xfrm>
            <a:off x="372228" y="3464175"/>
            <a:ext cx="1950091" cy="2913559"/>
          </a:xfrm>
          <a:prstGeom prst="rect">
            <a:avLst/>
          </a:prstGeom>
          <a:ln>
            <a:noFill/>
          </a:ln>
        </p:spPr>
      </p:pic>
      <p:pic>
        <p:nvPicPr>
          <p:cNvPr id="5" name="Picture 4" descr="A person holding a baby&#10;&#10;Description automatically generated">
            <a:extLst>
              <a:ext uri="{FF2B5EF4-FFF2-40B4-BE49-F238E27FC236}">
                <a16:creationId xmlns:a16="http://schemas.microsoft.com/office/drawing/2014/main" id="{EA8B74A9-A2C6-0F68-7B36-6C85387AC93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68" y="243247"/>
            <a:ext cx="1972783" cy="2958078"/>
          </a:xfrm>
          <a:prstGeom prst="rect">
            <a:avLst/>
          </a:prstGeom>
          <a:solidFill>
            <a:srgbClr val="000000">
              <a:shade val="95000"/>
            </a:srgbClr>
          </a:solidFill>
          <a:ln w="28575" cap="sq">
            <a:solidFill>
              <a:srgbClr val="000000"/>
            </a:solidFill>
            <a:miter lim="800000"/>
          </a:ln>
          <a:effectLst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B16DB6-CFE1-775E-C9E6-1288DA83EF9E}"/>
              </a:ext>
            </a:extLst>
          </p:cNvPr>
          <p:cNvSpPr txBox="1"/>
          <p:nvPr/>
        </p:nvSpPr>
        <p:spPr>
          <a:xfrm>
            <a:off x="3391989" y="3168201"/>
            <a:ext cx="73294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Adapted Resources (Coming Soon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DBF066-C1B2-5460-D5BC-558AAFF21BC5}"/>
              </a:ext>
            </a:extLst>
          </p:cNvPr>
          <p:cNvSpPr txBox="1"/>
          <p:nvPr/>
        </p:nvSpPr>
        <p:spPr>
          <a:xfrm>
            <a:off x="3591507" y="3911839"/>
            <a:ext cx="53125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ESSI Respectful Care Sign-Off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/>
              <a:t>Neonatal Respectful Care Planning Guide and Fly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69CD74-E5A2-5A11-7029-76F1FFF65FD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9805" y="76970"/>
            <a:ext cx="2546191" cy="31061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11B841-B8D2-097D-8DF5-EC5BAD54704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9050" y="3799659"/>
            <a:ext cx="2164852" cy="297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8476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587278" y="498759"/>
            <a:ext cx="8529105" cy="1175813"/>
          </a:xfrm>
          <a:noFill/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Building an Inclusive Clinical Environment and Parent Empowerment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 dirty="0"/>
          </a:p>
          <a:p>
            <a:pPr>
              <a:buClr>
                <a:srgbClr val="F5668F"/>
              </a:buClr>
            </a:pPr>
            <a:endParaRPr lang="en-US" altLang="en-US" sz="2800" dirty="0"/>
          </a:p>
          <a:p>
            <a:pPr>
              <a:buClr>
                <a:srgbClr val="F5668F"/>
              </a:buClr>
            </a:pPr>
            <a:endParaRPr lang="en-US" altLang="en-US" sz="2200" dirty="0"/>
          </a:p>
          <a:p>
            <a:pPr>
              <a:buClr>
                <a:srgbClr val="F5668F"/>
              </a:buClr>
            </a:pPr>
            <a:endParaRPr lang="en-US" altLang="en-US" sz="2200" dirty="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 dirty="0"/>
          </a:p>
          <a:p>
            <a:pPr>
              <a:buClr>
                <a:srgbClr val="F5668F"/>
              </a:buClr>
            </a:pPr>
            <a:endParaRPr lang="en-US" alt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9DA9E4-8E57-D07F-2A71-1A5B61A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BF6A44-9F85-5CD9-CFDD-619DFCC5DAE3}"/>
              </a:ext>
            </a:extLst>
          </p:cNvPr>
          <p:cNvSpPr txBox="1">
            <a:spLocks/>
          </p:cNvSpPr>
          <p:nvPr/>
        </p:nvSpPr>
        <p:spPr>
          <a:xfrm>
            <a:off x="520264" y="1333193"/>
            <a:ext cx="10434221" cy="477956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</a:pPr>
            <a:endParaRPr lang="en-US" sz="2400" dirty="0">
              <a:solidFill>
                <a:srgbClr val="000000"/>
              </a:solidFill>
              <a:latin typeface="Arial"/>
              <a:ea typeface="Lato Medium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Respectful Care Commitments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endParaRPr lang="en-US" sz="2400" dirty="0">
              <a:solidFill>
                <a:srgbClr val="000000"/>
              </a:solidFill>
              <a:latin typeface="Arial"/>
              <a:ea typeface="Lato Medium"/>
              <a:cs typeface="Arial"/>
            </a:endParaRPr>
          </a:p>
          <a:p>
            <a:pPr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 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Hearing Family Voices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endParaRPr lang="en-US" sz="2400" dirty="0">
              <a:solidFill>
                <a:srgbClr val="000000"/>
              </a:solidFill>
              <a:latin typeface="Arial"/>
              <a:ea typeface="Lato Medium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endParaRPr lang="en-US" sz="2400" dirty="0">
              <a:solidFill>
                <a:srgbClr val="000000"/>
              </a:solidFill>
              <a:latin typeface="Arial"/>
              <a:ea typeface="Lato Medium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Partnering with Parents  </a:t>
            </a:r>
          </a:p>
        </p:txBody>
      </p:sp>
      <p:grpSp>
        <p:nvGrpSpPr>
          <p:cNvPr id="8" name="Group 27">
            <a:extLst>
              <a:ext uri="{FF2B5EF4-FFF2-40B4-BE49-F238E27FC236}">
                <a16:creationId xmlns:a16="http://schemas.microsoft.com/office/drawing/2014/main" id="{EAB6171E-B389-19EF-475C-7DFC8285AD27}"/>
              </a:ext>
            </a:extLst>
          </p:cNvPr>
          <p:cNvGrpSpPr/>
          <p:nvPr/>
        </p:nvGrpSpPr>
        <p:grpSpPr>
          <a:xfrm>
            <a:off x="10521164" y="155226"/>
            <a:ext cx="1368800" cy="1368800"/>
            <a:chOff x="0" y="0"/>
            <a:chExt cx="812800" cy="812800"/>
          </a:xfrm>
        </p:grpSpPr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CC9F8EAA-EC69-50AE-9585-3DE094AE2F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29">
              <a:extLst>
                <a:ext uri="{FF2B5EF4-FFF2-40B4-BE49-F238E27FC236}">
                  <a16:creationId xmlns:a16="http://schemas.microsoft.com/office/drawing/2014/main" id="{48DF3E86-0462-C737-A26E-7B5C3372F5C4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13" name="TextBox 29">
            <a:extLst>
              <a:ext uri="{FF2B5EF4-FFF2-40B4-BE49-F238E27FC236}">
                <a16:creationId xmlns:a16="http://schemas.microsoft.com/office/drawing/2014/main" id="{B9B7469D-5A82-4F91-36EF-5918948D6DDF}"/>
              </a:ext>
            </a:extLst>
          </p:cNvPr>
          <p:cNvSpPr txBox="1"/>
          <p:nvPr/>
        </p:nvSpPr>
        <p:spPr>
          <a:xfrm>
            <a:off x="1340683" y="5178577"/>
            <a:ext cx="1112150" cy="1192353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599"/>
              </a:lnSpc>
            </a:pPr>
            <a:endParaRPr sz="800"/>
          </a:p>
        </p:txBody>
      </p:sp>
      <p:grpSp>
        <p:nvGrpSpPr>
          <p:cNvPr id="14" name="Group 27">
            <a:extLst>
              <a:ext uri="{FF2B5EF4-FFF2-40B4-BE49-F238E27FC236}">
                <a16:creationId xmlns:a16="http://schemas.microsoft.com/office/drawing/2014/main" id="{2DF12F63-3431-2654-C666-E4B652452F80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16305E8F-6DF3-2D08-8BEF-A689BDE654F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29">
              <a:extLst>
                <a:ext uri="{FF2B5EF4-FFF2-40B4-BE49-F238E27FC236}">
                  <a16:creationId xmlns:a16="http://schemas.microsoft.com/office/drawing/2014/main" id="{54C6D955-875D-85C4-889E-D42517C6668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pic>
        <p:nvPicPr>
          <p:cNvPr id="2" name="Picture 1" descr="A diagram of a health care system&#10;&#10;Description automatically generated">
            <a:extLst>
              <a:ext uri="{FF2B5EF4-FFF2-40B4-BE49-F238E27FC236}">
                <a16:creationId xmlns:a16="http://schemas.microsoft.com/office/drawing/2014/main" id="{DDBFE654-5E78-2801-2AB7-1FCF4E61099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3808" y="3622864"/>
            <a:ext cx="2451707" cy="2951326"/>
          </a:xfrm>
          <a:prstGeom prst="rect">
            <a:avLst/>
          </a:prstGeom>
        </p:spPr>
      </p:pic>
      <p:pic>
        <p:nvPicPr>
          <p:cNvPr id="17" name="Picture 16" descr="A diagram of a health care system&#10;&#10;Description automatically generated">
            <a:extLst>
              <a:ext uri="{FF2B5EF4-FFF2-40B4-BE49-F238E27FC236}">
                <a16:creationId xmlns:a16="http://schemas.microsoft.com/office/drawing/2014/main" id="{C56C97BC-E6BC-2AE8-DAEA-0AA88C7149D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6383" y="585648"/>
            <a:ext cx="2859907" cy="264948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1D3090F-9CC0-33DA-A449-041430054910}"/>
              </a:ext>
            </a:extLst>
          </p:cNvPr>
          <p:cNvSpPr txBox="1"/>
          <p:nvPr/>
        </p:nvSpPr>
        <p:spPr>
          <a:xfrm>
            <a:off x="1212358" y="2509006"/>
            <a:ext cx="525988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i="1" dirty="0">
                <a:solidFill>
                  <a:srgbClr val="F0678F"/>
                </a:solidFill>
              </a:rPr>
              <a:t>Birth Equity Respectful Care Practices </a:t>
            </a:r>
          </a:p>
          <a:p>
            <a:r>
              <a:rPr lang="en-US" sz="2200" i="1" dirty="0">
                <a:solidFill>
                  <a:srgbClr val="F0678F"/>
                </a:solidFill>
              </a:rPr>
              <a:t>ESSI Respectful Care Practices </a:t>
            </a:r>
          </a:p>
          <a:p>
            <a:r>
              <a:rPr lang="en-US" sz="2200" i="1" dirty="0">
                <a:solidFill>
                  <a:srgbClr val="F0678F"/>
                </a:solidFill>
              </a:rPr>
              <a:t>Respectful Care Practice Sign-Off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A40836-4CA9-B17E-0E86-0FF6BA1315E5}"/>
              </a:ext>
            </a:extLst>
          </p:cNvPr>
          <p:cNvSpPr txBox="1"/>
          <p:nvPr/>
        </p:nvSpPr>
        <p:spPr>
          <a:xfrm>
            <a:off x="1150445" y="4310881"/>
            <a:ext cx="52598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i="1" dirty="0">
                <a:solidFill>
                  <a:srgbClr val="F0678F"/>
                </a:solidFill>
              </a:rPr>
              <a:t>Respectful Care Breakfasts </a:t>
            </a:r>
          </a:p>
          <a:p>
            <a:r>
              <a:rPr lang="en-US" sz="2200" i="1" dirty="0">
                <a:solidFill>
                  <a:srgbClr val="F0678F"/>
                </a:solidFill>
              </a:rPr>
              <a:t>Engaging a Parent Partner</a:t>
            </a:r>
          </a:p>
        </p:txBody>
      </p:sp>
    </p:spTree>
    <p:extLst>
      <p:ext uri="{BB962C8B-B14F-4D97-AF65-F5344CB8AC3E}">
        <p14:creationId xmlns:p14="http://schemas.microsoft.com/office/powerpoint/2010/main" val="50462645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709" y="1308390"/>
            <a:ext cx="10193962" cy="2014679"/>
          </a:xfrm>
        </p:spPr>
        <p:txBody>
          <a:bodyPr/>
          <a:lstStyle/>
          <a:p>
            <a:r>
              <a:rPr lang="en-US" dirty="0">
                <a:latin typeface="Aptos"/>
                <a:ea typeface="Lato Medium"/>
                <a:cs typeface="Lato Medium"/>
              </a:rPr>
              <a:t>Team Talk: FHN Hospital</a:t>
            </a:r>
            <a:endParaRPr lang="en-US" dirty="0"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309904556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709" y="1308390"/>
            <a:ext cx="10193962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Lato Medium"/>
              </a:rPr>
              <a:t>Upcoming Opportunities of Interest to ESSI Teams</a:t>
            </a:r>
            <a:endParaRPr lang="en-US"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419229780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18D7A-43BA-6694-92BB-52CBF2060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250" y="572616"/>
            <a:ext cx="7405757" cy="1336606"/>
          </a:xfrm>
        </p:spPr>
        <p:txBody>
          <a:bodyPr/>
          <a:lstStyle/>
          <a:p>
            <a:r>
              <a:rPr lang="en-US" sz="3200">
                <a:latin typeface="Aptos Display"/>
                <a:ea typeface="Lato Medium"/>
                <a:cs typeface="Lato Medium"/>
              </a:rPr>
              <a:t>Diversity Science</a:t>
            </a:r>
            <a:br>
              <a:rPr lang="en-US" sz="3200">
                <a:latin typeface="Aptos Display"/>
                <a:ea typeface="Lato Medium"/>
                <a:cs typeface="Lato Medium"/>
              </a:rPr>
            </a:br>
            <a:r>
              <a:rPr lang="en-US" sz="3200" i="1">
                <a:latin typeface="Aptos Display"/>
                <a:ea typeface="Lato Medium"/>
                <a:cs typeface="Lato Medium"/>
              </a:rPr>
              <a:t>Dignity in Pregnancy &amp; Childbirth: Preventing Racial Bias in Perinatal Care</a:t>
            </a:r>
            <a:endParaRPr lang="en-US" sz="3200" i="1">
              <a:latin typeface="Aptos Display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B37E0-D0DD-5D32-723C-8FFFF1B11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56" y="1700232"/>
            <a:ext cx="6566453" cy="3917288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>
              <a:latin typeface="Aptos Display"/>
            </a:endParaRPr>
          </a:p>
          <a:p>
            <a:r>
              <a:rPr lang="en-US">
                <a:solidFill>
                  <a:srgbClr val="0D2C4C"/>
                </a:solidFill>
                <a:latin typeface="Aptos Display"/>
                <a:ea typeface="+mn-lt"/>
                <a:cs typeface="+mn-lt"/>
              </a:rPr>
              <a:t>Diversity Science includes courses that empower clinicians, providers, and healthcare organizations to achieve their mission of providing bias-free, high-quality care to all patients.</a:t>
            </a:r>
            <a:endParaRPr lang="en-US">
              <a:latin typeface="Aptos Display"/>
              <a:ea typeface="Lato"/>
              <a:cs typeface="Lato"/>
            </a:endParaRPr>
          </a:p>
          <a:p>
            <a:r>
              <a:rPr lang="en-US" b="1">
                <a:latin typeface="Aptos Display"/>
                <a:ea typeface="Lato"/>
                <a:cs typeface="Lato"/>
              </a:rPr>
              <a:t>ILPQC has been able to work with Diversity Science to allow Hospital teams to integrate the modules in e-learning systems.</a:t>
            </a:r>
            <a:endParaRPr lang="en-US" b="1">
              <a:latin typeface="Aptos Display"/>
            </a:endParaRPr>
          </a:p>
          <a:p>
            <a:r>
              <a:rPr lang="en-US">
                <a:latin typeface="Aptos Display"/>
                <a:ea typeface="Lato"/>
                <a:cs typeface="Lato"/>
              </a:rPr>
              <a:t>We will follow up soon with more information!</a:t>
            </a:r>
            <a:endParaRPr lang="en-US">
              <a:latin typeface="Aptos Display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16904B-7A10-4CE1-1906-FAD29EAE9F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3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951A9-0E93-9EB9-E0A5-C488F5062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A7BC3A8-74CA-A980-C709-FCBC5D47169C}"/>
              </a:ext>
            </a:extLst>
          </p:cNvPr>
          <p:cNvSpPr/>
          <p:nvPr/>
        </p:nvSpPr>
        <p:spPr>
          <a:xfrm>
            <a:off x="8231286" y="3429124"/>
            <a:ext cx="3434521" cy="227495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Aptos Display"/>
                <a:ea typeface="Calibri"/>
                <a:cs typeface="Calibri"/>
              </a:rPr>
              <a:t>COMING SOON!!!</a:t>
            </a:r>
            <a:endParaRPr lang="en-US" sz="2400">
              <a:latin typeface="Aptos Display"/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8BCB66FF-B5D6-7E35-9EBC-FF6AF291BFE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54892" y="1699419"/>
            <a:ext cx="3190787" cy="146357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12830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587278" y="393563"/>
            <a:ext cx="8726368" cy="1568939"/>
          </a:xfrm>
          <a:noFill/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Building an Inclusive Clinical Environment and Parent Empowerment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2269716"/>
            <a:ext cx="8453574" cy="4398999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 dirty="0"/>
          </a:p>
          <a:p>
            <a:pPr>
              <a:buClr>
                <a:srgbClr val="F5668F"/>
              </a:buClr>
            </a:pPr>
            <a:endParaRPr lang="en-US" altLang="en-US" sz="2800" dirty="0"/>
          </a:p>
          <a:p>
            <a:pPr>
              <a:buClr>
                <a:srgbClr val="F5668F"/>
              </a:buClr>
            </a:pPr>
            <a:endParaRPr lang="en-US" altLang="en-US" sz="2200" dirty="0"/>
          </a:p>
          <a:p>
            <a:pPr>
              <a:buClr>
                <a:srgbClr val="F5668F"/>
              </a:buClr>
            </a:pPr>
            <a:endParaRPr lang="en-US" altLang="en-US" sz="2200" dirty="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 dirty="0"/>
          </a:p>
          <a:p>
            <a:pPr>
              <a:buClr>
                <a:srgbClr val="F5668F"/>
              </a:buClr>
            </a:pPr>
            <a:endParaRPr lang="en-US" alt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9DA9E4-8E57-D07F-2A71-1A5B61A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grpSp>
        <p:nvGrpSpPr>
          <p:cNvPr id="8" name="Group 27">
            <a:extLst>
              <a:ext uri="{FF2B5EF4-FFF2-40B4-BE49-F238E27FC236}">
                <a16:creationId xmlns:a16="http://schemas.microsoft.com/office/drawing/2014/main" id="{EAB6171E-B389-19EF-475C-7DFC8285AD27}"/>
              </a:ext>
            </a:extLst>
          </p:cNvPr>
          <p:cNvGrpSpPr/>
          <p:nvPr/>
        </p:nvGrpSpPr>
        <p:grpSpPr>
          <a:xfrm>
            <a:off x="10521164" y="155226"/>
            <a:ext cx="1368800" cy="1368800"/>
            <a:chOff x="0" y="0"/>
            <a:chExt cx="812800" cy="812800"/>
          </a:xfrm>
        </p:grpSpPr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CC9F8EAA-EC69-50AE-9585-3DE094AE2F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29">
              <a:extLst>
                <a:ext uri="{FF2B5EF4-FFF2-40B4-BE49-F238E27FC236}">
                  <a16:creationId xmlns:a16="http://schemas.microsoft.com/office/drawing/2014/main" id="{48DF3E86-0462-C737-A26E-7B5C3372F5C4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1" name="Group 27">
            <a:extLst>
              <a:ext uri="{FF2B5EF4-FFF2-40B4-BE49-F238E27FC236}">
                <a16:creationId xmlns:a16="http://schemas.microsoft.com/office/drawing/2014/main" id="{C636D4D3-6E50-71B8-4C52-AB0F011B5518}"/>
              </a:ext>
            </a:extLst>
          </p:cNvPr>
          <p:cNvGrpSpPr/>
          <p:nvPr/>
        </p:nvGrpSpPr>
        <p:grpSpPr>
          <a:xfrm>
            <a:off x="1212358" y="5130455"/>
            <a:ext cx="1368800" cy="1368800"/>
            <a:chOff x="0" y="0"/>
            <a:chExt cx="812800" cy="812800"/>
          </a:xfrm>
        </p:grpSpPr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D6BAEE9A-1F1D-1843-864B-32552986B52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29">
              <a:extLst>
                <a:ext uri="{FF2B5EF4-FFF2-40B4-BE49-F238E27FC236}">
                  <a16:creationId xmlns:a16="http://schemas.microsoft.com/office/drawing/2014/main" id="{B9B7469D-5A82-4F91-36EF-5918948D6DDF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4" name="Group 27">
            <a:extLst>
              <a:ext uri="{FF2B5EF4-FFF2-40B4-BE49-F238E27FC236}">
                <a16:creationId xmlns:a16="http://schemas.microsoft.com/office/drawing/2014/main" id="{2DF12F63-3431-2654-C666-E4B652452F80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16305E8F-6DF3-2D08-8BEF-A689BDE654F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29">
              <a:extLst>
                <a:ext uri="{FF2B5EF4-FFF2-40B4-BE49-F238E27FC236}">
                  <a16:creationId xmlns:a16="http://schemas.microsoft.com/office/drawing/2014/main" id="{54C6D955-875D-85C4-889E-D42517C6668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93577A5-D795-69B3-00BD-9D74D1ECB759}"/>
              </a:ext>
            </a:extLst>
          </p:cNvPr>
          <p:cNvSpPr txBox="1">
            <a:spLocks/>
          </p:cNvSpPr>
          <p:nvPr/>
        </p:nvSpPr>
        <p:spPr>
          <a:xfrm>
            <a:off x="587278" y="2256013"/>
            <a:ext cx="10434221" cy="65765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</a:pPr>
            <a:r>
              <a:rPr lang="en-US" sz="2000" i="1" dirty="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Building on the strategies and resources implemented by Birth Equity Teams</a:t>
            </a:r>
          </a:p>
        </p:txBody>
      </p:sp>
      <p:pic>
        <p:nvPicPr>
          <p:cNvPr id="17" name="Picture 16" descr="A diagram of a health care system&#10;&#10;Description automatically generated">
            <a:extLst>
              <a:ext uri="{FF2B5EF4-FFF2-40B4-BE49-F238E27FC236}">
                <a16:creationId xmlns:a16="http://schemas.microsoft.com/office/drawing/2014/main" id="{2392B8F2-3FFA-181B-AB57-560887D4832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74478" y="0"/>
            <a:ext cx="2527804" cy="2341820"/>
          </a:xfrm>
          <a:prstGeom prst="rect">
            <a:avLst/>
          </a:prstGeom>
        </p:spPr>
      </p:pic>
      <p:graphicFrame>
        <p:nvGraphicFramePr>
          <p:cNvPr id="16389" name="Title 1">
            <a:extLst>
              <a:ext uri="{FF2B5EF4-FFF2-40B4-BE49-F238E27FC236}">
                <a16:creationId xmlns:a16="http://schemas.microsoft.com/office/drawing/2014/main" id="{7B8DBA90-BBE2-6561-0391-6A109267DC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367058"/>
              </p:ext>
            </p:extLst>
          </p:nvPr>
        </p:nvGraphicFramePr>
        <p:xfrm>
          <a:off x="504159" y="3000663"/>
          <a:ext cx="9430921" cy="26298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8" name="Picture 17" descr="A diagram of a health care system&#10;&#10;Description automatically generated">
            <a:extLst>
              <a:ext uri="{FF2B5EF4-FFF2-40B4-BE49-F238E27FC236}">
                <a16:creationId xmlns:a16="http://schemas.microsoft.com/office/drawing/2014/main" id="{15DC13E3-B279-A0FF-829A-D2D372FF868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4341" y="4258500"/>
            <a:ext cx="2030492" cy="2444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8015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A5A8B11-FA70-78A9-9F85-BA67284A929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83263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22" y="38394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Data Collection Timelines</a:t>
            </a:r>
            <a:endParaRPr lang="en-US" b="1">
              <a:solidFill>
                <a:srgbClr val="1C498B"/>
              </a:solidFill>
              <a:latin typeface="DM San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56684"/>
            <a:ext cx="7007355" cy="462027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</a:pPr>
            <a:endParaRPr lang="en-US" b="1">
              <a:latin typeface="DM Sans"/>
              <a:ea typeface="Lato"/>
              <a:cs typeface="Lato"/>
            </a:endParaRPr>
          </a:p>
          <a:p>
            <a:pPr>
              <a:lnSpc>
                <a:spcPct val="100000"/>
              </a:lnSpc>
            </a:pPr>
            <a:r>
              <a:rPr lang="en-US">
                <a:latin typeface="DM Sans"/>
                <a:ea typeface="Lato"/>
                <a:cs typeface="Calibri"/>
              </a:rPr>
              <a:t>Active initiative data, due on the final day of the following month: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>
                <a:latin typeface="DM Sans"/>
                <a:ea typeface="Lato"/>
                <a:cs typeface="Calibri"/>
              </a:rPr>
              <a:t>July </a:t>
            </a:r>
            <a:r>
              <a:rPr lang="en-US">
                <a:latin typeface="DM Sans"/>
                <a:ea typeface="Lato"/>
                <a:cs typeface="Calibri"/>
              </a:rPr>
              <a:t>Data Due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 August 31st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>
                <a:latin typeface="DM Sans"/>
                <a:ea typeface="Lato"/>
                <a:cs typeface="Calibri"/>
              </a:rPr>
              <a:t>August </a:t>
            </a:r>
            <a:r>
              <a:rPr lang="en-US">
                <a:latin typeface="DM Sans"/>
                <a:ea typeface="Lato"/>
                <a:cs typeface="Calibri"/>
              </a:rPr>
              <a:t>Data Due 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September 30th</a:t>
            </a:r>
          </a:p>
          <a:p>
            <a:pPr marL="457200" lvl="1" indent="0">
              <a:lnSpc>
                <a:spcPct val="100000"/>
              </a:lnSpc>
              <a:buClr>
                <a:srgbClr val="1C498B"/>
              </a:buClr>
              <a:buNone/>
            </a:pPr>
            <a:endParaRPr lang="en-US">
              <a:solidFill>
                <a:srgbClr val="000000"/>
              </a:solidFill>
              <a:latin typeface="DM Sans"/>
              <a:ea typeface="Lato"/>
              <a:cs typeface="Calibri"/>
            </a:endParaRPr>
          </a:p>
          <a:p>
            <a:pPr marL="0" indent="0" algn="ctr">
              <a:lnSpc>
                <a:spcPct val="100000"/>
              </a:lnSpc>
              <a:buNone/>
            </a:pPr>
            <a:endParaRPr lang="en-US" b="1">
              <a:solidFill>
                <a:srgbClr val="FF0000"/>
              </a:solidFill>
              <a:latin typeface="DM Sans"/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953892" y="1399422"/>
            <a:ext cx="3950389" cy="4200386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000" b="1">
                <a:latin typeface="DM Sans"/>
                <a:cs typeface="Calibri"/>
              </a:rPr>
              <a:t> Need clarification about ESSI Data? </a:t>
            </a:r>
            <a:endParaRPr lang="en-US" sz="3000">
              <a:latin typeface="DM Sans"/>
            </a:endParaRPr>
          </a:p>
          <a:p>
            <a:pPr algn="ctr"/>
            <a:r>
              <a:rPr lang="en-US" sz="3000" b="1">
                <a:latin typeface="DM Sans"/>
                <a:cs typeface="Calibri"/>
              </a:rPr>
              <a:t>Watch the ESSI Data training Webinar recording</a:t>
            </a:r>
            <a:endParaRPr lang="en-US" sz="3000">
              <a:latin typeface="DM Sans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264C5B4-96BC-52D9-4761-56A7E9B3F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5" name="Graphic 4" descr="Questions outline">
            <a:extLst>
              <a:ext uri="{FF2B5EF4-FFF2-40B4-BE49-F238E27FC236}">
                <a16:creationId xmlns:a16="http://schemas.microsoft.com/office/drawing/2014/main" id="{8B33EB59-604B-4C20-B41F-710AE570B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52800" y="58012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2D1335FE-DD13-3849-1D8F-91B721410AC9}"/>
              </a:ext>
            </a:extLst>
          </p:cNvPr>
          <p:cNvSpPr txBox="1"/>
          <p:nvPr/>
        </p:nvSpPr>
        <p:spPr>
          <a:xfrm>
            <a:off x="2177142" y="388775"/>
            <a:ext cx="2743200" cy="3657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00C77B3-6520-4CE2-5B99-7318C64DA2C4}"/>
              </a:ext>
            </a:extLst>
          </p:cNvPr>
          <p:cNvGrpSpPr/>
          <p:nvPr/>
        </p:nvGrpSpPr>
        <p:grpSpPr>
          <a:xfrm>
            <a:off x="196332" y="1112696"/>
            <a:ext cx="10626055" cy="4247648"/>
            <a:chOff x="224295" y="2042476"/>
            <a:chExt cx="10626055" cy="4247648"/>
          </a:xfrm>
        </p:grpSpPr>
        <p:pic>
          <p:nvPicPr>
            <p:cNvPr id="28" name="Picture 27" descr="A white rectangular box with black text&#10;&#10;Description automatically generated">
              <a:extLst>
                <a:ext uri="{FF2B5EF4-FFF2-40B4-BE49-F238E27FC236}">
                  <a16:creationId xmlns:a16="http://schemas.microsoft.com/office/drawing/2014/main" id="{AF7A07DE-24B2-6C71-E0B4-C2FB1895F3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4295" y="4399585"/>
              <a:ext cx="10626055" cy="1890539"/>
            </a:xfrm>
            <a:prstGeom prst="rect">
              <a:avLst/>
            </a:prstGeom>
          </p:spPr>
        </p:pic>
        <p:pic>
          <p:nvPicPr>
            <p:cNvPr id="29" name="Picture 28" descr="A white and blue box with black text&#10;&#10;Description automatically generated">
              <a:extLst>
                <a:ext uri="{FF2B5EF4-FFF2-40B4-BE49-F238E27FC236}">
                  <a16:creationId xmlns:a16="http://schemas.microsoft.com/office/drawing/2014/main" id="{FF2F7C12-D53F-366A-7D65-B7B37E06E6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0964" y="2042476"/>
              <a:ext cx="10465265" cy="2310844"/>
            </a:xfrm>
            <a:prstGeom prst="rect">
              <a:avLst/>
            </a:prstGeom>
          </p:spPr>
        </p:pic>
      </p:grpSp>
      <p:sp>
        <p:nvSpPr>
          <p:cNvPr id="3" name="Star: 5 Points 2">
            <a:extLst>
              <a:ext uri="{FF2B5EF4-FFF2-40B4-BE49-F238E27FC236}">
                <a16:creationId xmlns:a16="http://schemas.microsoft.com/office/drawing/2014/main" id="{C28017ED-C40F-EC9C-C26B-1A208FF6C24F}"/>
              </a:ext>
            </a:extLst>
          </p:cNvPr>
          <p:cNvSpPr/>
          <p:nvPr/>
        </p:nvSpPr>
        <p:spPr>
          <a:xfrm>
            <a:off x="5507772" y="1939454"/>
            <a:ext cx="328569" cy="32157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tar: 5 Points 3">
            <a:extLst>
              <a:ext uri="{FF2B5EF4-FFF2-40B4-BE49-F238E27FC236}">
                <a16:creationId xmlns:a16="http://schemas.microsoft.com/office/drawing/2014/main" id="{61EE79ED-EE07-7BB9-C30A-C077D1CC5EB2}"/>
              </a:ext>
            </a:extLst>
          </p:cNvPr>
          <p:cNvSpPr/>
          <p:nvPr/>
        </p:nvSpPr>
        <p:spPr>
          <a:xfrm>
            <a:off x="5507771" y="2946133"/>
            <a:ext cx="328569" cy="32157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742FC4E5-8756-F226-2BBC-554434AD2A39}"/>
              </a:ext>
            </a:extLst>
          </p:cNvPr>
          <p:cNvSpPr/>
          <p:nvPr/>
        </p:nvSpPr>
        <p:spPr>
          <a:xfrm>
            <a:off x="5507771" y="4071656"/>
            <a:ext cx="328569" cy="32157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E25F4ABD-2181-4225-43FC-FE41ABE89460}"/>
              </a:ext>
            </a:extLst>
          </p:cNvPr>
          <p:cNvSpPr/>
          <p:nvPr/>
        </p:nvSpPr>
        <p:spPr>
          <a:xfrm>
            <a:off x="5507770" y="4924536"/>
            <a:ext cx="328569" cy="321579"/>
          </a:xfrm>
          <a:prstGeom prst="star5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326E535-2AFA-02F0-EB4F-C3445F9D28B4}"/>
              </a:ext>
            </a:extLst>
          </p:cNvPr>
          <p:cNvGrpSpPr/>
          <p:nvPr/>
        </p:nvGrpSpPr>
        <p:grpSpPr>
          <a:xfrm>
            <a:off x="10346961" y="5084105"/>
            <a:ext cx="1846771" cy="1689296"/>
            <a:chOff x="2941850" y="1156254"/>
            <a:chExt cx="3261672" cy="3575819"/>
          </a:xfrm>
        </p:grpSpPr>
        <p:sp>
          <p:nvSpPr>
            <p:cNvPr id="9" name="Google Shape;412;p31">
              <a:extLst>
                <a:ext uri="{FF2B5EF4-FFF2-40B4-BE49-F238E27FC236}">
                  <a16:creationId xmlns:a16="http://schemas.microsoft.com/office/drawing/2014/main" id="{569CF7D3-0644-4B33-7144-278D2902C5BB}"/>
                </a:ext>
              </a:extLst>
            </p:cNvPr>
            <p:cNvSpPr/>
            <p:nvPr/>
          </p:nvSpPr>
          <p:spPr>
            <a:xfrm>
              <a:off x="3249367" y="1156254"/>
              <a:ext cx="2640465" cy="3575819"/>
            </a:xfrm>
            <a:custGeom>
              <a:avLst/>
              <a:gdLst/>
              <a:ahLst/>
              <a:cxnLst/>
              <a:rect l="l" t="t" r="r" b="b"/>
              <a:pathLst>
                <a:path w="85307" h="115526" extrusionOk="0">
                  <a:moveTo>
                    <a:pt x="6144" y="4756"/>
                  </a:moveTo>
                  <a:lnTo>
                    <a:pt x="7135" y="4954"/>
                  </a:lnTo>
                  <a:lnTo>
                    <a:pt x="8125" y="5152"/>
                  </a:lnTo>
                  <a:lnTo>
                    <a:pt x="9116" y="5251"/>
                  </a:lnTo>
                  <a:lnTo>
                    <a:pt x="10107" y="5350"/>
                  </a:lnTo>
                  <a:lnTo>
                    <a:pt x="11593" y="5648"/>
                  </a:lnTo>
                  <a:lnTo>
                    <a:pt x="12386" y="5747"/>
                  </a:lnTo>
                  <a:lnTo>
                    <a:pt x="13079" y="5648"/>
                  </a:lnTo>
                  <a:lnTo>
                    <a:pt x="13575" y="5747"/>
                  </a:lnTo>
                  <a:lnTo>
                    <a:pt x="14268" y="5747"/>
                  </a:lnTo>
                  <a:lnTo>
                    <a:pt x="14466" y="5846"/>
                  </a:lnTo>
                  <a:lnTo>
                    <a:pt x="14565" y="6044"/>
                  </a:lnTo>
                  <a:lnTo>
                    <a:pt x="14664" y="6341"/>
                  </a:lnTo>
                  <a:lnTo>
                    <a:pt x="14863" y="6936"/>
                  </a:lnTo>
                  <a:lnTo>
                    <a:pt x="15061" y="7629"/>
                  </a:lnTo>
                  <a:lnTo>
                    <a:pt x="15556" y="8818"/>
                  </a:lnTo>
                  <a:lnTo>
                    <a:pt x="16151" y="10007"/>
                  </a:lnTo>
                  <a:lnTo>
                    <a:pt x="16547" y="10503"/>
                  </a:lnTo>
                  <a:lnTo>
                    <a:pt x="16943" y="11097"/>
                  </a:lnTo>
                  <a:lnTo>
                    <a:pt x="17637" y="11791"/>
                  </a:lnTo>
                  <a:lnTo>
                    <a:pt x="18429" y="12484"/>
                  </a:lnTo>
                  <a:lnTo>
                    <a:pt x="18826" y="12880"/>
                  </a:lnTo>
                  <a:lnTo>
                    <a:pt x="19024" y="13079"/>
                  </a:lnTo>
                  <a:lnTo>
                    <a:pt x="19321" y="13178"/>
                  </a:lnTo>
                  <a:lnTo>
                    <a:pt x="19420" y="13376"/>
                  </a:lnTo>
                  <a:lnTo>
                    <a:pt x="19420" y="13475"/>
                  </a:lnTo>
                  <a:lnTo>
                    <a:pt x="19420" y="13673"/>
                  </a:lnTo>
                  <a:lnTo>
                    <a:pt x="19222" y="14168"/>
                  </a:lnTo>
                  <a:lnTo>
                    <a:pt x="19123" y="14664"/>
                  </a:lnTo>
                  <a:lnTo>
                    <a:pt x="19024" y="15754"/>
                  </a:lnTo>
                  <a:lnTo>
                    <a:pt x="18925" y="16447"/>
                  </a:lnTo>
                  <a:lnTo>
                    <a:pt x="18826" y="17042"/>
                  </a:lnTo>
                  <a:lnTo>
                    <a:pt x="18628" y="17636"/>
                  </a:lnTo>
                  <a:lnTo>
                    <a:pt x="18628" y="18330"/>
                  </a:lnTo>
                  <a:lnTo>
                    <a:pt x="18429" y="19320"/>
                  </a:lnTo>
                  <a:lnTo>
                    <a:pt x="18231" y="20212"/>
                  </a:lnTo>
                  <a:lnTo>
                    <a:pt x="18132" y="20807"/>
                  </a:lnTo>
                  <a:lnTo>
                    <a:pt x="18033" y="21500"/>
                  </a:lnTo>
                  <a:lnTo>
                    <a:pt x="17934" y="22689"/>
                  </a:lnTo>
                  <a:lnTo>
                    <a:pt x="17736" y="23779"/>
                  </a:lnTo>
                  <a:lnTo>
                    <a:pt x="17736" y="24770"/>
                  </a:lnTo>
                  <a:lnTo>
                    <a:pt x="17439" y="28931"/>
                  </a:lnTo>
                  <a:lnTo>
                    <a:pt x="17439" y="29724"/>
                  </a:lnTo>
                  <a:lnTo>
                    <a:pt x="17439" y="30516"/>
                  </a:lnTo>
                  <a:lnTo>
                    <a:pt x="17538" y="31408"/>
                  </a:lnTo>
                  <a:lnTo>
                    <a:pt x="17439" y="32300"/>
                  </a:lnTo>
                  <a:lnTo>
                    <a:pt x="17439" y="32498"/>
                  </a:lnTo>
                  <a:lnTo>
                    <a:pt x="17538" y="32597"/>
                  </a:lnTo>
                  <a:lnTo>
                    <a:pt x="17538" y="32795"/>
                  </a:lnTo>
                  <a:lnTo>
                    <a:pt x="17439" y="32894"/>
                  </a:lnTo>
                  <a:lnTo>
                    <a:pt x="17240" y="32894"/>
                  </a:lnTo>
                  <a:lnTo>
                    <a:pt x="17141" y="32696"/>
                  </a:lnTo>
                  <a:lnTo>
                    <a:pt x="16943" y="32399"/>
                  </a:lnTo>
                  <a:lnTo>
                    <a:pt x="15655" y="30814"/>
                  </a:lnTo>
                  <a:lnTo>
                    <a:pt x="15061" y="30021"/>
                  </a:lnTo>
                  <a:lnTo>
                    <a:pt x="14466" y="29228"/>
                  </a:lnTo>
                  <a:lnTo>
                    <a:pt x="13079" y="27049"/>
                  </a:lnTo>
                  <a:lnTo>
                    <a:pt x="11692" y="24968"/>
                  </a:lnTo>
                  <a:lnTo>
                    <a:pt x="9810" y="21698"/>
                  </a:lnTo>
                  <a:lnTo>
                    <a:pt x="9314" y="20608"/>
                  </a:lnTo>
                  <a:lnTo>
                    <a:pt x="8819" y="19519"/>
                  </a:lnTo>
                  <a:lnTo>
                    <a:pt x="7927" y="17339"/>
                  </a:lnTo>
                  <a:lnTo>
                    <a:pt x="7234" y="15357"/>
                  </a:lnTo>
                  <a:lnTo>
                    <a:pt x="6639" y="13277"/>
                  </a:lnTo>
                  <a:lnTo>
                    <a:pt x="6243" y="11592"/>
                  </a:lnTo>
                  <a:lnTo>
                    <a:pt x="5946" y="9809"/>
                  </a:lnTo>
                  <a:lnTo>
                    <a:pt x="5847" y="8620"/>
                  </a:lnTo>
                  <a:lnTo>
                    <a:pt x="5747" y="7332"/>
                  </a:lnTo>
                  <a:lnTo>
                    <a:pt x="5648" y="6738"/>
                  </a:lnTo>
                  <a:lnTo>
                    <a:pt x="5747" y="6143"/>
                  </a:lnTo>
                  <a:lnTo>
                    <a:pt x="5847" y="4855"/>
                  </a:lnTo>
                  <a:lnTo>
                    <a:pt x="5946" y="4756"/>
                  </a:lnTo>
                  <a:close/>
                  <a:moveTo>
                    <a:pt x="78966" y="4954"/>
                  </a:moveTo>
                  <a:lnTo>
                    <a:pt x="79263" y="5053"/>
                  </a:lnTo>
                  <a:lnTo>
                    <a:pt x="79362" y="5053"/>
                  </a:lnTo>
                  <a:lnTo>
                    <a:pt x="79461" y="5251"/>
                  </a:lnTo>
                  <a:lnTo>
                    <a:pt x="79461" y="5549"/>
                  </a:lnTo>
                  <a:lnTo>
                    <a:pt x="79560" y="5846"/>
                  </a:lnTo>
                  <a:lnTo>
                    <a:pt x="79560" y="6242"/>
                  </a:lnTo>
                  <a:lnTo>
                    <a:pt x="79560" y="6936"/>
                  </a:lnTo>
                  <a:lnTo>
                    <a:pt x="79560" y="7233"/>
                  </a:lnTo>
                  <a:lnTo>
                    <a:pt x="79560" y="7431"/>
                  </a:lnTo>
                  <a:lnTo>
                    <a:pt x="79659" y="7530"/>
                  </a:lnTo>
                  <a:lnTo>
                    <a:pt x="79759" y="7629"/>
                  </a:lnTo>
                  <a:lnTo>
                    <a:pt x="79659" y="7728"/>
                  </a:lnTo>
                  <a:lnTo>
                    <a:pt x="79560" y="7827"/>
                  </a:lnTo>
                  <a:lnTo>
                    <a:pt x="79461" y="7926"/>
                  </a:lnTo>
                  <a:lnTo>
                    <a:pt x="79659" y="8026"/>
                  </a:lnTo>
                  <a:lnTo>
                    <a:pt x="79560" y="8125"/>
                  </a:lnTo>
                  <a:lnTo>
                    <a:pt x="79560" y="8224"/>
                  </a:lnTo>
                  <a:lnTo>
                    <a:pt x="79560" y="8422"/>
                  </a:lnTo>
                  <a:lnTo>
                    <a:pt x="79560" y="8620"/>
                  </a:lnTo>
                  <a:lnTo>
                    <a:pt x="79560" y="8719"/>
                  </a:lnTo>
                  <a:lnTo>
                    <a:pt x="79461" y="8818"/>
                  </a:lnTo>
                  <a:lnTo>
                    <a:pt x="79362" y="8917"/>
                  </a:lnTo>
                  <a:lnTo>
                    <a:pt x="79461" y="9016"/>
                  </a:lnTo>
                  <a:lnTo>
                    <a:pt x="79560" y="9115"/>
                  </a:lnTo>
                  <a:lnTo>
                    <a:pt x="79461" y="9314"/>
                  </a:lnTo>
                  <a:lnTo>
                    <a:pt x="79461" y="9413"/>
                  </a:lnTo>
                  <a:lnTo>
                    <a:pt x="79461" y="9710"/>
                  </a:lnTo>
                  <a:lnTo>
                    <a:pt x="79560" y="10007"/>
                  </a:lnTo>
                  <a:lnTo>
                    <a:pt x="79560" y="10106"/>
                  </a:lnTo>
                  <a:lnTo>
                    <a:pt x="79560" y="10304"/>
                  </a:lnTo>
                  <a:lnTo>
                    <a:pt x="79461" y="10602"/>
                  </a:lnTo>
                  <a:lnTo>
                    <a:pt x="79362" y="10800"/>
                  </a:lnTo>
                  <a:lnTo>
                    <a:pt x="79263" y="10998"/>
                  </a:lnTo>
                  <a:lnTo>
                    <a:pt x="79263" y="11097"/>
                  </a:lnTo>
                  <a:lnTo>
                    <a:pt x="79461" y="11295"/>
                  </a:lnTo>
                  <a:lnTo>
                    <a:pt x="79362" y="11592"/>
                  </a:lnTo>
                  <a:lnTo>
                    <a:pt x="79362" y="11691"/>
                  </a:lnTo>
                  <a:lnTo>
                    <a:pt x="79164" y="11791"/>
                  </a:lnTo>
                  <a:lnTo>
                    <a:pt x="79065" y="11890"/>
                  </a:lnTo>
                  <a:lnTo>
                    <a:pt x="78966" y="11989"/>
                  </a:lnTo>
                  <a:lnTo>
                    <a:pt x="78966" y="12286"/>
                  </a:lnTo>
                  <a:lnTo>
                    <a:pt x="78966" y="12385"/>
                  </a:lnTo>
                  <a:lnTo>
                    <a:pt x="79164" y="12385"/>
                  </a:lnTo>
                  <a:lnTo>
                    <a:pt x="79263" y="12484"/>
                  </a:lnTo>
                  <a:lnTo>
                    <a:pt x="78966" y="12682"/>
                  </a:lnTo>
                  <a:lnTo>
                    <a:pt x="78867" y="12880"/>
                  </a:lnTo>
                  <a:lnTo>
                    <a:pt x="78768" y="13178"/>
                  </a:lnTo>
                  <a:lnTo>
                    <a:pt x="78768" y="13574"/>
                  </a:lnTo>
                  <a:lnTo>
                    <a:pt x="78768" y="13673"/>
                  </a:lnTo>
                  <a:lnTo>
                    <a:pt x="78669" y="13871"/>
                  </a:lnTo>
                  <a:lnTo>
                    <a:pt x="78570" y="14069"/>
                  </a:lnTo>
                  <a:lnTo>
                    <a:pt x="78768" y="14267"/>
                  </a:lnTo>
                  <a:lnTo>
                    <a:pt x="78570" y="14367"/>
                  </a:lnTo>
                  <a:lnTo>
                    <a:pt x="78471" y="14565"/>
                  </a:lnTo>
                  <a:lnTo>
                    <a:pt x="78272" y="15456"/>
                  </a:lnTo>
                  <a:lnTo>
                    <a:pt x="78074" y="15952"/>
                  </a:lnTo>
                  <a:lnTo>
                    <a:pt x="77777" y="16249"/>
                  </a:lnTo>
                  <a:lnTo>
                    <a:pt x="77678" y="16348"/>
                  </a:lnTo>
                  <a:lnTo>
                    <a:pt x="77678" y="16447"/>
                  </a:lnTo>
                  <a:lnTo>
                    <a:pt x="77777" y="16844"/>
                  </a:lnTo>
                  <a:lnTo>
                    <a:pt x="77678" y="17240"/>
                  </a:lnTo>
                  <a:lnTo>
                    <a:pt x="77183" y="18032"/>
                  </a:lnTo>
                  <a:lnTo>
                    <a:pt x="76885" y="18627"/>
                  </a:lnTo>
                  <a:lnTo>
                    <a:pt x="76885" y="18924"/>
                  </a:lnTo>
                  <a:lnTo>
                    <a:pt x="76885" y="19320"/>
                  </a:lnTo>
                  <a:lnTo>
                    <a:pt x="76885" y="19420"/>
                  </a:lnTo>
                  <a:lnTo>
                    <a:pt x="76687" y="19320"/>
                  </a:lnTo>
                  <a:lnTo>
                    <a:pt x="76588" y="19420"/>
                  </a:lnTo>
                  <a:lnTo>
                    <a:pt x="76588" y="19717"/>
                  </a:lnTo>
                  <a:lnTo>
                    <a:pt x="76489" y="20014"/>
                  </a:lnTo>
                  <a:lnTo>
                    <a:pt x="76489" y="20113"/>
                  </a:lnTo>
                  <a:lnTo>
                    <a:pt x="76291" y="20113"/>
                  </a:lnTo>
                  <a:lnTo>
                    <a:pt x="76192" y="20608"/>
                  </a:lnTo>
                  <a:lnTo>
                    <a:pt x="76093" y="21005"/>
                  </a:lnTo>
                  <a:lnTo>
                    <a:pt x="75895" y="21302"/>
                  </a:lnTo>
                  <a:lnTo>
                    <a:pt x="75696" y="21599"/>
                  </a:lnTo>
                  <a:lnTo>
                    <a:pt x="75399" y="21896"/>
                  </a:lnTo>
                  <a:lnTo>
                    <a:pt x="75498" y="22095"/>
                  </a:lnTo>
                  <a:lnTo>
                    <a:pt x="75498" y="22194"/>
                  </a:lnTo>
                  <a:lnTo>
                    <a:pt x="75300" y="22491"/>
                  </a:lnTo>
                  <a:lnTo>
                    <a:pt x="75102" y="22689"/>
                  </a:lnTo>
                  <a:lnTo>
                    <a:pt x="75003" y="22986"/>
                  </a:lnTo>
                  <a:lnTo>
                    <a:pt x="74805" y="23383"/>
                  </a:lnTo>
                  <a:lnTo>
                    <a:pt x="74607" y="23779"/>
                  </a:lnTo>
                  <a:lnTo>
                    <a:pt x="74111" y="24473"/>
                  </a:lnTo>
                  <a:lnTo>
                    <a:pt x="73616" y="25166"/>
                  </a:lnTo>
                  <a:lnTo>
                    <a:pt x="72724" y="26652"/>
                  </a:lnTo>
                  <a:lnTo>
                    <a:pt x="71931" y="27841"/>
                  </a:lnTo>
                  <a:lnTo>
                    <a:pt x="71535" y="28436"/>
                  </a:lnTo>
                  <a:lnTo>
                    <a:pt x="71238" y="29030"/>
                  </a:lnTo>
                  <a:lnTo>
                    <a:pt x="71040" y="29228"/>
                  </a:lnTo>
                  <a:lnTo>
                    <a:pt x="70842" y="29426"/>
                  </a:lnTo>
                  <a:lnTo>
                    <a:pt x="70643" y="29724"/>
                  </a:lnTo>
                  <a:lnTo>
                    <a:pt x="70544" y="30021"/>
                  </a:lnTo>
                  <a:lnTo>
                    <a:pt x="70544" y="30120"/>
                  </a:lnTo>
                  <a:lnTo>
                    <a:pt x="70346" y="30120"/>
                  </a:lnTo>
                  <a:lnTo>
                    <a:pt x="70247" y="30219"/>
                  </a:lnTo>
                  <a:lnTo>
                    <a:pt x="70148" y="30219"/>
                  </a:lnTo>
                  <a:lnTo>
                    <a:pt x="69950" y="30714"/>
                  </a:lnTo>
                  <a:lnTo>
                    <a:pt x="69653" y="31111"/>
                  </a:lnTo>
                  <a:lnTo>
                    <a:pt x="69058" y="31804"/>
                  </a:lnTo>
                  <a:lnTo>
                    <a:pt x="68662" y="32399"/>
                  </a:lnTo>
                  <a:lnTo>
                    <a:pt x="68464" y="32696"/>
                  </a:lnTo>
                  <a:lnTo>
                    <a:pt x="68166" y="32993"/>
                  </a:lnTo>
                  <a:lnTo>
                    <a:pt x="68067" y="33092"/>
                  </a:lnTo>
                  <a:lnTo>
                    <a:pt x="67968" y="33290"/>
                  </a:lnTo>
                  <a:lnTo>
                    <a:pt x="67869" y="33489"/>
                  </a:lnTo>
                  <a:lnTo>
                    <a:pt x="67770" y="33588"/>
                  </a:lnTo>
                  <a:lnTo>
                    <a:pt x="67473" y="33588"/>
                  </a:lnTo>
                  <a:lnTo>
                    <a:pt x="67671" y="33290"/>
                  </a:lnTo>
                  <a:lnTo>
                    <a:pt x="67671" y="32993"/>
                  </a:lnTo>
                  <a:lnTo>
                    <a:pt x="67572" y="32399"/>
                  </a:lnTo>
                  <a:lnTo>
                    <a:pt x="67572" y="31210"/>
                  </a:lnTo>
                  <a:lnTo>
                    <a:pt x="67572" y="29922"/>
                  </a:lnTo>
                  <a:lnTo>
                    <a:pt x="67572" y="28237"/>
                  </a:lnTo>
                  <a:lnTo>
                    <a:pt x="67572" y="27445"/>
                  </a:lnTo>
                  <a:lnTo>
                    <a:pt x="67473" y="26553"/>
                  </a:lnTo>
                  <a:lnTo>
                    <a:pt x="67374" y="25959"/>
                  </a:lnTo>
                  <a:lnTo>
                    <a:pt x="67374" y="25661"/>
                  </a:lnTo>
                  <a:lnTo>
                    <a:pt x="67374" y="25265"/>
                  </a:lnTo>
                  <a:lnTo>
                    <a:pt x="67374" y="24968"/>
                  </a:lnTo>
                  <a:lnTo>
                    <a:pt x="67374" y="24572"/>
                  </a:lnTo>
                  <a:lnTo>
                    <a:pt x="67176" y="23779"/>
                  </a:lnTo>
                  <a:lnTo>
                    <a:pt x="66978" y="21896"/>
                  </a:lnTo>
                  <a:lnTo>
                    <a:pt x="66680" y="20014"/>
                  </a:lnTo>
                  <a:lnTo>
                    <a:pt x="66383" y="18330"/>
                  </a:lnTo>
                  <a:lnTo>
                    <a:pt x="66086" y="16645"/>
                  </a:lnTo>
                  <a:lnTo>
                    <a:pt x="65888" y="15258"/>
                  </a:lnTo>
                  <a:lnTo>
                    <a:pt x="65590" y="13871"/>
                  </a:lnTo>
                  <a:lnTo>
                    <a:pt x="65491" y="13673"/>
                  </a:lnTo>
                  <a:lnTo>
                    <a:pt x="65590" y="13475"/>
                  </a:lnTo>
                  <a:lnTo>
                    <a:pt x="65690" y="13178"/>
                  </a:lnTo>
                  <a:lnTo>
                    <a:pt x="65987" y="12979"/>
                  </a:lnTo>
                  <a:lnTo>
                    <a:pt x="66284" y="12979"/>
                  </a:lnTo>
                  <a:lnTo>
                    <a:pt x="66878" y="12682"/>
                  </a:lnTo>
                  <a:lnTo>
                    <a:pt x="67374" y="12187"/>
                  </a:lnTo>
                  <a:lnTo>
                    <a:pt x="68166" y="11295"/>
                  </a:lnTo>
                  <a:lnTo>
                    <a:pt x="68761" y="10602"/>
                  </a:lnTo>
                  <a:lnTo>
                    <a:pt x="69256" y="9809"/>
                  </a:lnTo>
                  <a:lnTo>
                    <a:pt x="69752" y="8917"/>
                  </a:lnTo>
                  <a:lnTo>
                    <a:pt x="70049" y="8026"/>
                  </a:lnTo>
                  <a:lnTo>
                    <a:pt x="70346" y="7134"/>
                  </a:lnTo>
                  <a:lnTo>
                    <a:pt x="70544" y="6341"/>
                  </a:lnTo>
                  <a:lnTo>
                    <a:pt x="70643" y="6143"/>
                  </a:lnTo>
                  <a:lnTo>
                    <a:pt x="70742" y="5945"/>
                  </a:lnTo>
                  <a:lnTo>
                    <a:pt x="70941" y="5846"/>
                  </a:lnTo>
                  <a:lnTo>
                    <a:pt x="72526" y="5846"/>
                  </a:lnTo>
                  <a:lnTo>
                    <a:pt x="73913" y="5648"/>
                  </a:lnTo>
                  <a:lnTo>
                    <a:pt x="75399" y="5549"/>
                  </a:lnTo>
                  <a:lnTo>
                    <a:pt x="76786" y="5251"/>
                  </a:lnTo>
                  <a:lnTo>
                    <a:pt x="77678" y="5152"/>
                  </a:lnTo>
                  <a:lnTo>
                    <a:pt x="78669" y="5053"/>
                  </a:lnTo>
                  <a:lnTo>
                    <a:pt x="78966" y="4954"/>
                  </a:lnTo>
                  <a:close/>
                  <a:moveTo>
                    <a:pt x="2082" y="0"/>
                  </a:moveTo>
                  <a:lnTo>
                    <a:pt x="1685" y="99"/>
                  </a:lnTo>
                  <a:lnTo>
                    <a:pt x="1091" y="397"/>
                  </a:lnTo>
                  <a:lnTo>
                    <a:pt x="794" y="595"/>
                  </a:lnTo>
                  <a:lnTo>
                    <a:pt x="595" y="991"/>
                  </a:lnTo>
                  <a:lnTo>
                    <a:pt x="397" y="1685"/>
                  </a:lnTo>
                  <a:lnTo>
                    <a:pt x="298" y="2378"/>
                  </a:lnTo>
                  <a:lnTo>
                    <a:pt x="100" y="4360"/>
                  </a:lnTo>
                  <a:lnTo>
                    <a:pt x="1" y="6242"/>
                  </a:lnTo>
                  <a:lnTo>
                    <a:pt x="1" y="7035"/>
                  </a:lnTo>
                  <a:lnTo>
                    <a:pt x="100" y="7926"/>
                  </a:lnTo>
                  <a:lnTo>
                    <a:pt x="298" y="9512"/>
                  </a:lnTo>
                  <a:lnTo>
                    <a:pt x="496" y="10998"/>
                  </a:lnTo>
                  <a:lnTo>
                    <a:pt x="893" y="12583"/>
                  </a:lnTo>
                  <a:lnTo>
                    <a:pt x="1091" y="13475"/>
                  </a:lnTo>
                  <a:lnTo>
                    <a:pt x="1487" y="14267"/>
                  </a:lnTo>
                  <a:lnTo>
                    <a:pt x="2082" y="16051"/>
                  </a:lnTo>
                  <a:lnTo>
                    <a:pt x="2478" y="17042"/>
                  </a:lnTo>
                  <a:lnTo>
                    <a:pt x="2874" y="18032"/>
                  </a:lnTo>
                  <a:lnTo>
                    <a:pt x="2973" y="18528"/>
                  </a:lnTo>
                  <a:lnTo>
                    <a:pt x="3072" y="18825"/>
                  </a:lnTo>
                  <a:lnTo>
                    <a:pt x="3271" y="19122"/>
                  </a:lnTo>
                  <a:lnTo>
                    <a:pt x="3568" y="19717"/>
                  </a:lnTo>
                  <a:lnTo>
                    <a:pt x="3865" y="20311"/>
                  </a:lnTo>
                  <a:lnTo>
                    <a:pt x="4459" y="21500"/>
                  </a:lnTo>
                  <a:lnTo>
                    <a:pt x="5153" y="22887"/>
                  </a:lnTo>
                  <a:lnTo>
                    <a:pt x="5847" y="24175"/>
                  </a:lnTo>
                  <a:lnTo>
                    <a:pt x="6639" y="25364"/>
                  </a:lnTo>
                  <a:lnTo>
                    <a:pt x="7531" y="26553"/>
                  </a:lnTo>
                  <a:lnTo>
                    <a:pt x="8323" y="27643"/>
                  </a:lnTo>
                  <a:lnTo>
                    <a:pt x="9215" y="28733"/>
                  </a:lnTo>
                  <a:lnTo>
                    <a:pt x="9711" y="29228"/>
                  </a:lnTo>
                  <a:lnTo>
                    <a:pt x="10107" y="29823"/>
                  </a:lnTo>
                  <a:lnTo>
                    <a:pt x="10602" y="30417"/>
                  </a:lnTo>
                  <a:lnTo>
                    <a:pt x="11098" y="30913"/>
                  </a:lnTo>
                  <a:lnTo>
                    <a:pt x="11593" y="31309"/>
                  </a:lnTo>
                  <a:lnTo>
                    <a:pt x="11989" y="31705"/>
                  </a:lnTo>
                  <a:lnTo>
                    <a:pt x="12386" y="32102"/>
                  </a:lnTo>
                  <a:lnTo>
                    <a:pt x="12782" y="32399"/>
                  </a:lnTo>
                  <a:lnTo>
                    <a:pt x="13277" y="32795"/>
                  </a:lnTo>
                  <a:lnTo>
                    <a:pt x="13773" y="33290"/>
                  </a:lnTo>
                  <a:lnTo>
                    <a:pt x="14169" y="33687"/>
                  </a:lnTo>
                  <a:lnTo>
                    <a:pt x="14664" y="34182"/>
                  </a:lnTo>
                  <a:lnTo>
                    <a:pt x="16052" y="35272"/>
                  </a:lnTo>
                  <a:lnTo>
                    <a:pt x="16745" y="35767"/>
                  </a:lnTo>
                  <a:lnTo>
                    <a:pt x="17439" y="36164"/>
                  </a:lnTo>
                  <a:lnTo>
                    <a:pt x="17637" y="36362"/>
                  </a:lnTo>
                  <a:lnTo>
                    <a:pt x="17736" y="36659"/>
                  </a:lnTo>
                  <a:lnTo>
                    <a:pt x="18033" y="37650"/>
                  </a:lnTo>
                  <a:lnTo>
                    <a:pt x="18231" y="38641"/>
                  </a:lnTo>
                  <a:lnTo>
                    <a:pt x="18429" y="39731"/>
                  </a:lnTo>
                  <a:lnTo>
                    <a:pt x="18826" y="40919"/>
                  </a:lnTo>
                  <a:lnTo>
                    <a:pt x="19321" y="41910"/>
                  </a:lnTo>
                  <a:lnTo>
                    <a:pt x="19916" y="43000"/>
                  </a:lnTo>
                  <a:lnTo>
                    <a:pt x="20213" y="43595"/>
                  </a:lnTo>
                  <a:lnTo>
                    <a:pt x="20411" y="43793"/>
                  </a:lnTo>
                  <a:lnTo>
                    <a:pt x="20609" y="43991"/>
                  </a:lnTo>
                  <a:lnTo>
                    <a:pt x="21005" y="44189"/>
                  </a:lnTo>
                  <a:lnTo>
                    <a:pt x="21303" y="44486"/>
                  </a:lnTo>
                  <a:lnTo>
                    <a:pt x="21600" y="44784"/>
                  </a:lnTo>
                  <a:lnTo>
                    <a:pt x="21798" y="44982"/>
                  </a:lnTo>
                  <a:lnTo>
                    <a:pt x="22293" y="45477"/>
                  </a:lnTo>
                  <a:lnTo>
                    <a:pt x="22888" y="45873"/>
                  </a:lnTo>
                  <a:lnTo>
                    <a:pt x="23780" y="46468"/>
                  </a:lnTo>
                  <a:lnTo>
                    <a:pt x="24671" y="46963"/>
                  </a:lnTo>
                  <a:lnTo>
                    <a:pt x="27346" y="48053"/>
                  </a:lnTo>
                  <a:lnTo>
                    <a:pt x="28634" y="48548"/>
                  </a:lnTo>
                  <a:lnTo>
                    <a:pt x="30022" y="48945"/>
                  </a:lnTo>
                  <a:lnTo>
                    <a:pt x="31111" y="49341"/>
                  </a:lnTo>
                  <a:lnTo>
                    <a:pt x="32300" y="49638"/>
                  </a:lnTo>
                  <a:lnTo>
                    <a:pt x="33390" y="49836"/>
                  </a:lnTo>
                  <a:lnTo>
                    <a:pt x="34480" y="50035"/>
                  </a:lnTo>
                  <a:lnTo>
                    <a:pt x="35570" y="50332"/>
                  </a:lnTo>
                  <a:lnTo>
                    <a:pt x="35867" y="50332"/>
                  </a:lnTo>
                  <a:lnTo>
                    <a:pt x="36065" y="50431"/>
                  </a:lnTo>
                  <a:lnTo>
                    <a:pt x="36065" y="50629"/>
                  </a:lnTo>
                  <a:lnTo>
                    <a:pt x="36164" y="51125"/>
                  </a:lnTo>
                  <a:lnTo>
                    <a:pt x="36164" y="51620"/>
                  </a:lnTo>
                  <a:lnTo>
                    <a:pt x="36164" y="52016"/>
                  </a:lnTo>
                  <a:lnTo>
                    <a:pt x="36164" y="52313"/>
                  </a:lnTo>
                  <a:lnTo>
                    <a:pt x="36362" y="52908"/>
                  </a:lnTo>
                  <a:lnTo>
                    <a:pt x="36660" y="53403"/>
                  </a:lnTo>
                  <a:lnTo>
                    <a:pt x="36759" y="53998"/>
                  </a:lnTo>
                  <a:lnTo>
                    <a:pt x="36759" y="54196"/>
                  </a:lnTo>
                  <a:lnTo>
                    <a:pt x="36858" y="54493"/>
                  </a:lnTo>
                  <a:lnTo>
                    <a:pt x="36957" y="54691"/>
                  </a:lnTo>
                  <a:lnTo>
                    <a:pt x="37056" y="54989"/>
                  </a:lnTo>
                  <a:lnTo>
                    <a:pt x="37254" y="55682"/>
                  </a:lnTo>
                  <a:lnTo>
                    <a:pt x="37452" y="56376"/>
                  </a:lnTo>
                  <a:lnTo>
                    <a:pt x="37651" y="56772"/>
                  </a:lnTo>
                  <a:lnTo>
                    <a:pt x="37948" y="56970"/>
                  </a:lnTo>
                  <a:lnTo>
                    <a:pt x="38344" y="57168"/>
                  </a:lnTo>
                  <a:lnTo>
                    <a:pt x="38740" y="57168"/>
                  </a:lnTo>
                  <a:lnTo>
                    <a:pt x="39137" y="57267"/>
                  </a:lnTo>
                  <a:lnTo>
                    <a:pt x="39236" y="57366"/>
                  </a:lnTo>
                  <a:lnTo>
                    <a:pt x="39236" y="57565"/>
                  </a:lnTo>
                  <a:lnTo>
                    <a:pt x="39137" y="57862"/>
                  </a:lnTo>
                  <a:lnTo>
                    <a:pt x="39137" y="58258"/>
                  </a:lnTo>
                  <a:lnTo>
                    <a:pt x="39038" y="59150"/>
                  </a:lnTo>
                  <a:lnTo>
                    <a:pt x="39038" y="59942"/>
                  </a:lnTo>
                  <a:lnTo>
                    <a:pt x="39137" y="60834"/>
                  </a:lnTo>
                  <a:lnTo>
                    <a:pt x="39038" y="61726"/>
                  </a:lnTo>
                  <a:lnTo>
                    <a:pt x="39038" y="62915"/>
                  </a:lnTo>
                  <a:lnTo>
                    <a:pt x="38939" y="63608"/>
                  </a:lnTo>
                  <a:lnTo>
                    <a:pt x="38839" y="64203"/>
                  </a:lnTo>
                  <a:lnTo>
                    <a:pt x="38839" y="64500"/>
                  </a:lnTo>
                  <a:lnTo>
                    <a:pt x="38839" y="64896"/>
                  </a:lnTo>
                  <a:lnTo>
                    <a:pt x="38939" y="65689"/>
                  </a:lnTo>
                  <a:lnTo>
                    <a:pt x="38839" y="66581"/>
                  </a:lnTo>
                  <a:lnTo>
                    <a:pt x="38740" y="67373"/>
                  </a:lnTo>
                  <a:lnTo>
                    <a:pt x="38740" y="68265"/>
                  </a:lnTo>
                  <a:lnTo>
                    <a:pt x="38740" y="68661"/>
                  </a:lnTo>
                  <a:lnTo>
                    <a:pt x="38641" y="69058"/>
                  </a:lnTo>
                  <a:lnTo>
                    <a:pt x="38641" y="69454"/>
                  </a:lnTo>
                  <a:lnTo>
                    <a:pt x="38740" y="69850"/>
                  </a:lnTo>
                  <a:lnTo>
                    <a:pt x="38839" y="70247"/>
                  </a:lnTo>
                  <a:lnTo>
                    <a:pt x="38740" y="70445"/>
                  </a:lnTo>
                  <a:lnTo>
                    <a:pt x="38740" y="70643"/>
                  </a:lnTo>
                  <a:lnTo>
                    <a:pt x="38542" y="71039"/>
                  </a:lnTo>
                  <a:lnTo>
                    <a:pt x="38641" y="71436"/>
                  </a:lnTo>
                  <a:lnTo>
                    <a:pt x="38641" y="71634"/>
                  </a:lnTo>
                  <a:lnTo>
                    <a:pt x="38641" y="71733"/>
                  </a:lnTo>
                  <a:lnTo>
                    <a:pt x="38443" y="72030"/>
                  </a:lnTo>
                  <a:lnTo>
                    <a:pt x="38344" y="72228"/>
                  </a:lnTo>
                  <a:lnTo>
                    <a:pt x="38443" y="72426"/>
                  </a:lnTo>
                  <a:lnTo>
                    <a:pt x="38344" y="72922"/>
                  </a:lnTo>
                  <a:lnTo>
                    <a:pt x="38047" y="73516"/>
                  </a:lnTo>
                  <a:lnTo>
                    <a:pt x="37750" y="74111"/>
                  </a:lnTo>
                  <a:lnTo>
                    <a:pt x="37551" y="74210"/>
                  </a:lnTo>
                  <a:lnTo>
                    <a:pt x="37353" y="74408"/>
                  </a:lnTo>
                  <a:lnTo>
                    <a:pt x="36957" y="74507"/>
                  </a:lnTo>
                  <a:lnTo>
                    <a:pt x="36759" y="74705"/>
                  </a:lnTo>
                  <a:lnTo>
                    <a:pt x="36263" y="75101"/>
                  </a:lnTo>
                  <a:lnTo>
                    <a:pt x="35669" y="75498"/>
                  </a:lnTo>
                  <a:lnTo>
                    <a:pt x="35074" y="75795"/>
                  </a:lnTo>
                  <a:lnTo>
                    <a:pt x="33886" y="76290"/>
                  </a:lnTo>
                  <a:lnTo>
                    <a:pt x="32994" y="76687"/>
                  </a:lnTo>
                  <a:lnTo>
                    <a:pt x="32201" y="77083"/>
                  </a:lnTo>
                  <a:lnTo>
                    <a:pt x="30616" y="77975"/>
                  </a:lnTo>
                  <a:lnTo>
                    <a:pt x="29031" y="78767"/>
                  </a:lnTo>
                  <a:lnTo>
                    <a:pt x="27941" y="79263"/>
                  </a:lnTo>
                  <a:lnTo>
                    <a:pt x="27445" y="79560"/>
                  </a:lnTo>
                  <a:lnTo>
                    <a:pt x="26950" y="79956"/>
                  </a:lnTo>
                  <a:lnTo>
                    <a:pt x="26752" y="80154"/>
                  </a:lnTo>
                  <a:lnTo>
                    <a:pt x="26653" y="80452"/>
                  </a:lnTo>
                  <a:lnTo>
                    <a:pt x="26455" y="81244"/>
                  </a:lnTo>
                  <a:lnTo>
                    <a:pt x="26455" y="81641"/>
                  </a:lnTo>
                  <a:lnTo>
                    <a:pt x="26455" y="82136"/>
                  </a:lnTo>
                  <a:lnTo>
                    <a:pt x="26455" y="82235"/>
                  </a:lnTo>
                  <a:lnTo>
                    <a:pt x="26356" y="82334"/>
                  </a:lnTo>
                  <a:lnTo>
                    <a:pt x="25860" y="82334"/>
                  </a:lnTo>
                  <a:lnTo>
                    <a:pt x="25365" y="82532"/>
                  </a:lnTo>
                  <a:lnTo>
                    <a:pt x="24473" y="82929"/>
                  </a:lnTo>
                  <a:lnTo>
                    <a:pt x="23879" y="83127"/>
                  </a:lnTo>
                  <a:lnTo>
                    <a:pt x="23284" y="83523"/>
                  </a:lnTo>
                  <a:lnTo>
                    <a:pt x="22888" y="84018"/>
                  </a:lnTo>
                  <a:lnTo>
                    <a:pt x="22789" y="84316"/>
                  </a:lnTo>
                  <a:lnTo>
                    <a:pt x="22690" y="84613"/>
                  </a:lnTo>
                  <a:lnTo>
                    <a:pt x="22492" y="86297"/>
                  </a:lnTo>
                  <a:lnTo>
                    <a:pt x="22393" y="87090"/>
                  </a:lnTo>
                  <a:lnTo>
                    <a:pt x="22393" y="87982"/>
                  </a:lnTo>
                  <a:lnTo>
                    <a:pt x="22393" y="88180"/>
                  </a:lnTo>
                  <a:lnTo>
                    <a:pt x="22492" y="88378"/>
                  </a:lnTo>
                  <a:lnTo>
                    <a:pt x="22690" y="88477"/>
                  </a:lnTo>
                  <a:lnTo>
                    <a:pt x="23086" y="88477"/>
                  </a:lnTo>
                  <a:lnTo>
                    <a:pt x="23185" y="88378"/>
                  </a:lnTo>
                  <a:lnTo>
                    <a:pt x="23284" y="88180"/>
                  </a:lnTo>
                  <a:lnTo>
                    <a:pt x="23185" y="87982"/>
                  </a:lnTo>
                  <a:lnTo>
                    <a:pt x="23185" y="87684"/>
                  </a:lnTo>
                  <a:lnTo>
                    <a:pt x="23482" y="85108"/>
                  </a:lnTo>
                  <a:lnTo>
                    <a:pt x="23581" y="84613"/>
                  </a:lnTo>
                  <a:lnTo>
                    <a:pt x="23681" y="84217"/>
                  </a:lnTo>
                  <a:lnTo>
                    <a:pt x="23978" y="83919"/>
                  </a:lnTo>
                  <a:lnTo>
                    <a:pt x="24374" y="83721"/>
                  </a:lnTo>
                  <a:lnTo>
                    <a:pt x="26356" y="83226"/>
                  </a:lnTo>
                  <a:lnTo>
                    <a:pt x="27545" y="82929"/>
                  </a:lnTo>
                  <a:lnTo>
                    <a:pt x="28833" y="82730"/>
                  </a:lnTo>
                  <a:lnTo>
                    <a:pt x="31310" y="82334"/>
                  </a:lnTo>
                  <a:lnTo>
                    <a:pt x="33985" y="82037"/>
                  </a:lnTo>
                  <a:lnTo>
                    <a:pt x="36759" y="81839"/>
                  </a:lnTo>
                  <a:lnTo>
                    <a:pt x="37651" y="81740"/>
                  </a:lnTo>
                  <a:lnTo>
                    <a:pt x="38542" y="81740"/>
                  </a:lnTo>
                  <a:lnTo>
                    <a:pt x="39533" y="81641"/>
                  </a:lnTo>
                  <a:lnTo>
                    <a:pt x="40524" y="81740"/>
                  </a:lnTo>
                  <a:lnTo>
                    <a:pt x="41713" y="81740"/>
                  </a:lnTo>
                  <a:lnTo>
                    <a:pt x="42902" y="81839"/>
                  </a:lnTo>
                  <a:lnTo>
                    <a:pt x="44982" y="81839"/>
                  </a:lnTo>
                  <a:lnTo>
                    <a:pt x="47162" y="82037"/>
                  </a:lnTo>
                  <a:lnTo>
                    <a:pt x="47955" y="82037"/>
                  </a:lnTo>
                  <a:lnTo>
                    <a:pt x="48648" y="82136"/>
                  </a:lnTo>
                  <a:lnTo>
                    <a:pt x="49243" y="82136"/>
                  </a:lnTo>
                  <a:lnTo>
                    <a:pt x="49837" y="82235"/>
                  </a:lnTo>
                  <a:lnTo>
                    <a:pt x="50531" y="82334"/>
                  </a:lnTo>
                  <a:lnTo>
                    <a:pt x="51521" y="82433"/>
                  </a:lnTo>
                  <a:lnTo>
                    <a:pt x="52710" y="82532"/>
                  </a:lnTo>
                  <a:lnTo>
                    <a:pt x="53701" y="82730"/>
                  </a:lnTo>
                  <a:lnTo>
                    <a:pt x="54791" y="82829"/>
                  </a:lnTo>
                  <a:lnTo>
                    <a:pt x="55881" y="82929"/>
                  </a:lnTo>
                  <a:lnTo>
                    <a:pt x="57070" y="83127"/>
                  </a:lnTo>
                  <a:lnTo>
                    <a:pt x="58061" y="83325"/>
                  </a:lnTo>
                  <a:lnTo>
                    <a:pt x="59051" y="83523"/>
                  </a:lnTo>
                  <a:lnTo>
                    <a:pt x="61033" y="83919"/>
                  </a:lnTo>
                  <a:lnTo>
                    <a:pt x="61231" y="84018"/>
                  </a:lnTo>
                  <a:lnTo>
                    <a:pt x="61429" y="84117"/>
                  </a:lnTo>
                  <a:lnTo>
                    <a:pt x="61627" y="84316"/>
                  </a:lnTo>
                  <a:lnTo>
                    <a:pt x="61627" y="84514"/>
                  </a:lnTo>
                  <a:lnTo>
                    <a:pt x="61726" y="85406"/>
                  </a:lnTo>
                  <a:lnTo>
                    <a:pt x="61825" y="86297"/>
                  </a:lnTo>
                  <a:lnTo>
                    <a:pt x="61925" y="87189"/>
                  </a:lnTo>
                  <a:lnTo>
                    <a:pt x="62024" y="88081"/>
                  </a:lnTo>
                  <a:lnTo>
                    <a:pt x="62123" y="88279"/>
                  </a:lnTo>
                  <a:lnTo>
                    <a:pt x="62024" y="88378"/>
                  </a:lnTo>
                  <a:lnTo>
                    <a:pt x="61925" y="88378"/>
                  </a:lnTo>
                  <a:lnTo>
                    <a:pt x="61231" y="88279"/>
                  </a:lnTo>
                  <a:lnTo>
                    <a:pt x="60637" y="88180"/>
                  </a:lnTo>
                  <a:lnTo>
                    <a:pt x="60042" y="88081"/>
                  </a:lnTo>
                  <a:lnTo>
                    <a:pt x="59448" y="87982"/>
                  </a:lnTo>
                  <a:lnTo>
                    <a:pt x="58259" y="87882"/>
                  </a:lnTo>
                  <a:lnTo>
                    <a:pt x="56079" y="87684"/>
                  </a:lnTo>
                  <a:lnTo>
                    <a:pt x="54989" y="87486"/>
                  </a:lnTo>
                  <a:lnTo>
                    <a:pt x="53899" y="87387"/>
                  </a:lnTo>
                  <a:lnTo>
                    <a:pt x="52413" y="87288"/>
                  </a:lnTo>
                  <a:lnTo>
                    <a:pt x="50828" y="87189"/>
                  </a:lnTo>
                  <a:lnTo>
                    <a:pt x="48351" y="86991"/>
                  </a:lnTo>
                  <a:lnTo>
                    <a:pt x="45874" y="86892"/>
                  </a:lnTo>
                  <a:lnTo>
                    <a:pt x="41812" y="86892"/>
                  </a:lnTo>
                  <a:lnTo>
                    <a:pt x="40227" y="86991"/>
                  </a:lnTo>
                  <a:lnTo>
                    <a:pt x="38740" y="86991"/>
                  </a:lnTo>
                  <a:lnTo>
                    <a:pt x="35174" y="87288"/>
                  </a:lnTo>
                  <a:lnTo>
                    <a:pt x="34084" y="87387"/>
                  </a:lnTo>
                  <a:lnTo>
                    <a:pt x="33093" y="87486"/>
                  </a:lnTo>
                  <a:lnTo>
                    <a:pt x="32003" y="87585"/>
                  </a:lnTo>
                  <a:lnTo>
                    <a:pt x="31012" y="87684"/>
                  </a:lnTo>
                  <a:lnTo>
                    <a:pt x="30022" y="87783"/>
                  </a:lnTo>
                  <a:lnTo>
                    <a:pt x="29031" y="87982"/>
                  </a:lnTo>
                  <a:lnTo>
                    <a:pt x="27247" y="88081"/>
                  </a:lnTo>
                  <a:lnTo>
                    <a:pt x="26058" y="88180"/>
                  </a:lnTo>
                  <a:lnTo>
                    <a:pt x="24869" y="88279"/>
                  </a:lnTo>
                  <a:lnTo>
                    <a:pt x="24473" y="88279"/>
                  </a:lnTo>
                  <a:lnTo>
                    <a:pt x="24176" y="88378"/>
                  </a:lnTo>
                  <a:lnTo>
                    <a:pt x="23681" y="88576"/>
                  </a:lnTo>
                  <a:lnTo>
                    <a:pt x="23185" y="88675"/>
                  </a:lnTo>
                  <a:lnTo>
                    <a:pt x="22591" y="88675"/>
                  </a:lnTo>
                  <a:lnTo>
                    <a:pt x="22095" y="88774"/>
                  </a:lnTo>
                  <a:lnTo>
                    <a:pt x="21600" y="88873"/>
                  </a:lnTo>
                  <a:lnTo>
                    <a:pt x="21005" y="88972"/>
                  </a:lnTo>
                  <a:lnTo>
                    <a:pt x="20510" y="88972"/>
                  </a:lnTo>
                  <a:lnTo>
                    <a:pt x="19916" y="89071"/>
                  </a:lnTo>
                  <a:lnTo>
                    <a:pt x="18231" y="89567"/>
                  </a:lnTo>
                  <a:lnTo>
                    <a:pt x="16448" y="89963"/>
                  </a:lnTo>
                  <a:lnTo>
                    <a:pt x="16151" y="90062"/>
                  </a:lnTo>
                  <a:lnTo>
                    <a:pt x="15952" y="90161"/>
                  </a:lnTo>
                  <a:lnTo>
                    <a:pt x="15853" y="90359"/>
                  </a:lnTo>
                  <a:lnTo>
                    <a:pt x="15853" y="90657"/>
                  </a:lnTo>
                  <a:lnTo>
                    <a:pt x="15853" y="91548"/>
                  </a:lnTo>
                  <a:lnTo>
                    <a:pt x="15754" y="92341"/>
                  </a:lnTo>
                  <a:lnTo>
                    <a:pt x="15754" y="93134"/>
                  </a:lnTo>
                  <a:lnTo>
                    <a:pt x="15754" y="94025"/>
                  </a:lnTo>
                  <a:lnTo>
                    <a:pt x="15853" y="94521"/>
                  </a:lnTo>
                  <a:lnTo>
                    <a:pt x="15853" y="94818"/>
                  </a:lnTo>
                  <a:lnTo>
                    <a:pt x="15754" y="95115"/>
                  </a:lnTo>
                  <a:lnTo>
                    <a:pt x="15754" y="95214"/>
                  </a:lnTo>
                  <a:lnTo>
                    <a:pt x="15754" y="95412"/>
                  </a:lnTo>
                  <a:lnTo>
                    <a:pt x="15655" y="95511"/>
                  </a:lnTo>
                  <a:lnTo>
                    <a:pt x="15655" y="95710"/>
                  </a:lnTo>
                  <a:lnTo>
                    <a:pt x="15754" y="96007"/>
                  </a:lnTo>
                  <a:lnTo>
                    <a:pt x="15754" y="96403"/>
                  </a:lnTo>
                  <a:lnTo>
                    <a:pt x="15754" y="96998"/>
                  </a:lnTo>
                  <a:lnTo>
                    <a:pt x="15655" y="97394"/>
                  </a:lnTo>
                  <a:lnTo>
                    <a:pt x="15754" y="97790"/>
                  </a:lnTo>
                  <a:lnTo>
                    <a:pt x="15754" y="98187"/>
                  </a:lnTo>
                  <a:lnTo>
                    <a:pt x="15754" y="98385"/>
                  </a:lnTo>
                  <a:lnTo>
                    <a:pt x="15655" y="98583"/>
                  </a:lnTo>
                  <a:lnTo>
                    <a:pt x="15655" y="98682"/>
                  </a:lnTo>
                  <a:lnTo>
                    <a:pt x="15754" y="99177"/>
                  </a:lnTo>
                  <a:lnTo>
                    <a:pt x="15754" y="99574"/>
                  </a:lnTo>
                  <a:lnTo>
                    <a:pt x="15655" y="100267"/>
                  </a:lnTo>
                  <a:lnTo>
                    <a:pt x="15556" y="100564"/>
                  </a:lnTo>
                  <a:lnTo>
                    <a:pt x="15655" y="100763"/>
                  </a:lnTo>
                  <a:lnTo>
                    <a:pt x="15754" y="101159"/>
                  </a:lnTo>
                  <a:lnTo>
                    <a:pt x="15655" y="101555"/>
                  </a:lnTo>
                  <a:lnTo>
                    <a:pt x="15655" y="102249"/>
                  </a:lnTo>
                  <a:lnTo>
                    <a:pt x="15754" y="102942"/>
                  </a:lnTo>
                  <a:lnTo>
                    <a:pt x="15754" y="103339"/>
                  </a:lnTo>
                  <a:lnTo>
                    <a:pt x="15655" y="103636"/>
                  </a:lnTo>
                  <a:lnTo>
                    <a:pt x="15556" y="104131"/>
                  </a:lnTo>
                  <a:lnTo>
                    <a:pt x="15655" y="104528"/>
                  </a:lnTo>
                  <a:lnTo>
                    <a:pt x="15655" y="105023"/>
                  </a:lnTo>
                  <a:lnTo>
                    <a:pt x="15556" y="105419"/>
                  </a:lnTo>
                  <a:lnTo>
                    <a:pt x="15556" y="105716"/>
                  </a:lnTo>
                  <a:lnTo>
                    <a:pt x="15556" y="106014"/>
                  </a:lnTo>
                  <a:lnTo>
                    <a:pt x="15655" y="106608"/>
                  </a:lnTo>
                  <a:lnTo>
                    <a:pt x="15655" y="107104"/>
                  </a:lnTo>
                  <a:lnTo>
                    <a:pt x="15655" y="107500"/>
                  </a:lnTo>
                  <a:lnTo>
                    <a:pt x="15556" y="108392"/>
                  </a:lnTo>
                  <a:lnTo>
                    <a:pt x="15556" y="108986"/>
                  </a:lnTo>
                  <a:lnTo>
                    <a:pt x="15655" y="109680"/>
                  </a:lnTo>
                  <a:lnTo>
                    <a:pt x="15655" y="110373"/>
                  </a:lnTo>
                  <a:lnTo>
                    <a:pt x="15556" y="110968"/>
                  </a:lnTo>
                  <a:lnTo>
                    <a:pt x="15556" y="111760"/>
                  </a:lnTo>
                  <a:lnTo>
                    <a:pt x="15556" y="112553"/>
                  </a:lnTo>
                  <a:lnTo>
                    <a:pt x="15655" y="112949"/>
                  </a:lnTo>
                  <a:lnTo>
                    <a:pt x="15655" y="113346"/>
                  </a:lnTo>
                  <a:lnTo>
                    <a:pt x="15655" y="113841"/>
                  </a:lnTo>
                  <a:lnTo>
                    <a:pt x="15754" y="114336"/>
                  </a:lnTo>
                  <a:lnTo>
                    <a:pt x="15952" y="114832"/>
                  </a:lnTo>
                  <a:lnTo>
                    <a:pt x="16250" y="115228"/>
                  </a:lnTo>
                  <a:lnTo>
                    <a:pt x="16745" y="115525"/>
                  </a:lnTo>
                  <a:lnTo>
                    <a:pt x="17141" y="115525"/>
                  </a:lnTo>
                  <a:lnTo>
                    <a:pt x="17637" y="115426"/>
                  </a:lnTo>
                  <a:lnTo>
                    <a:pt x="18132" y="115426"/>
                  </a:lnTo>
                  <a:lnTo>
                    <a:pt x="20807" y="115525"/>
                  </a:lnTo>
                  <a:lnTo>
                    <a:pt x="24275" y="115525"/>
                  </a:lnTo>
                  <a:lnTo>
                    <a:pt x="27842" y="115426"/>
                  </a:lnTo>
                  <a:lnTo>
                    <a:pt x="33985" y="115327"/>
                  </a:lnTo>
                  <a:lnTo>
                    <a:pt x="49936" y="115327"/>
                  </a:lnTo>
                  <a:lnTo>
                    <a:pt x="55484" y="115426"/>
                  </a:lnTo>
                  <a:lnTo>
                    <a:pt x="57169" y="115426"/>
                  </a:lnTo>
                  <a:lnTo>
                    <a:pt x="58754" y="115525"/>
                  </a:lnTo>
                  <a:lnTo>
                    <a:pt x="68563" y="115525"/>
                  </a:lnTo>
                  <a:lnTo>
                    <a:pt x="68761" y="115426"/>
                  </a:lnTo>
                  <a:lnTo>
                    <a:pt x="68860" y="115426"/>
                  </a:lnTo>
                  <a:lnTo>
                    <a:pt x="68860" y="115129"/>
                  </a:lnTo>
                  <a:lnTo>
                    <a:pt x="68959" y="114931"/>
                  </a:lnTo>
                  <a:lnTo>
                    <a:pt x="69058" y="114832"/>
                  </a:lnTo>
                  <a:lnTo>
                    <a:pt x="69454" y="114634"/>
                  </a:lnTo>
                  <a:lnTo>
                    <a:pt x="69653" y="114435"/>
                  </a:lnTo>
                  <a:lnTo>
                    <a:pt x="69653" y="114237"/>
                  </a:lnTo>
                  <a:lnTo>
                    <a:pt x="69653" y="111562"/>
                  </a:lnTo>
                  <a:lnTo>
                    <a:pt x="69752" y="110076"/>
                  </a:lnTo>
                  <a:lnTo>
                    <a:pt x="69752" y="108491"/>
                  </a:lnTo>
                  <a:lnTo>
                    <a:pt x="69653" y="104924"/>
                  </a:lnTo>
                  <a:lnTo>
                    <a:pt x="69653" y="103140"/>
                  </a:lnTo>
                  <a:lnTo>
                    <a:pt x="69653" y="101357"/>
                  </a:lnTo>
                  <a:lnTo>
                    <a:pt x="69653" y="100465"/>
                  </a:lnTo>
                  <a:lnTo>
                    <a:pt x="69653" y="99475"/>
                  </a:lnTo>
                  <a:lnTo>
                    <a:pt x="69554" y="98682"/>
                  </a:lnTo>
                  <a:lnTo>
                    <a:pt x="69653" y="97790"/>
                  </a:lnTo>
                  <a:lnTo>
                    <a:pt x="69653" y="97097"/>
                  </a:lnTo>
                  <a:lnTo>
                    <a:pt x="69653" y="96403"/>
                  </a:lnTo>
                  <a:lnTo>
                    <a:pt x="69554" y="95016"/>
                  </a:lnTo>
                  <a:lnTo>
                    <a:pt x="69554" y="93827"/>
                  </a:lnTo>
                  <a:lnTo>
                    <a:pt x="69554" y="92638"/>
                  </a:lnTo>
                  <a:lnTo>
                    <a:pt x="69454" y="91350"/>
                  </a:lnTo>
                  <a:lnTo>
                    <a:pt x="69355" y="90657"/>
                  </a:lnTo>
                  <a:lnTo>
                    <a:pt x="69355" y="90062"/>
                  </a:lnTo>
                  <a:lnTo>
                    <a:pt x="69355" y="89963"/>
                  </a:lnTo>
                  <a:lnTo>
                    <a:pt x="69256" y="89864"/>
                  </a:lnTo>
                  <a:lnTo>
                    <a:pt x="68365" y="89666"/>
                  </a:lnTo>
                  <a:lnTo>
                    <a:pt x="67473" y="89369"/>
                  </a:lnTo>
                  <a:lnTo>
                    <a:pt x="66482" y="89170"/>
                  </a:lnTo>
                  <a:lnTo>
                    <a:pt x="65491" y="88972"/>
                  </a:lnTo>
                  <a:lnTo>
                    <a:pt x="64501" y="88774"/>
                  </a:lnTo>
                  <a:lnTo>
                    <a:pt x="64005" y="88675"/>
                  </a:lnTo>
                  <a:lnTo>
                    <a:pt x="63510" y="88576"/>
                  </a:lnTo>
                  <a:lnTo>
                    <a:pt x="63213" y="88576"/>
                  </a:lnTo>
                  <a:lnTo>
                    <a:pt x="63014" y="88378"/>
                  </a:lnTo>
                  <a:lnTo>
                    <a:pt x="62816" y="88180"/>
                  </a:lnTo>
                  <a:lnTo>
                    <a:pt x="62816" y="87783"/>
                  </a:lnTo>
                  <a:lnTo>
                    <a:pt x="62816" y="87288"/>
                  </a:lnTo>
                  <a:lnTo>
                    <a:pt x="62816" y="87090"/>
                  </a:lnTo>
                  <a:lnTo>
                    <a:pt x="62816" y="86793"/>
                  </a:lnTo>
                  <a:lnTo>
                    <a:pt x="62618" y="86297"/>
                  </a:lnTo>
                  <a:lnTo>
                    <a:pt x="62618" y="85802"/>
                  </a:lnTo>
                  <a:lnTo>
                    <a:pt x="62420" y="84712"/>
                  </a:lnTo>
                  <a:lnTo>
                    <a:pt x="62222" y="84117"/>
                  </a:lnTo>
                  <a:lnTo>
                    <a:pt x="61925" y="83721"/>
                  </a:lnTo>
                  <a:lnTo>
                    <a:pt x="61627" y="83424"/>
                  </a:lnTo>
                  <a:lnTo>
                    <a:pt x="61132" y="83127"/>
                  </a:lnTo>
                  <a:lnTo>
                    <a:pt x="60438" y="82929"/>
                  </a:lnTo>
                  <a:lnTo>
                    <a:pt x="60141" y="82730"/>
                  </a:lnTo>
                  <a:lnTo>
                    <a:pt x="59844" y="82631"/>
                  </a:lnTo>
                  <a:lnTo>
                    <a:pt x="59249" y="82532"/>
                  </a:lnTo>
                  <a:lnTo>
                    <a:pt x="58952" y="82433"/>
                  </a:lnTo>
                  <a:lnTo>
                    <a:pt x="58655" y="82433"/>
                  </a:lnTo>
                  <a:lnTo>
                    <a:pt x="58853" y="81641"/>
                  </a:lnTo>
                  <a:lnTo>
                    <a:pt x="58853" y="81244"/>
                  </a:lnTo>
                  <a:lnTo>
                    <a:pt x="58754" y="80848"/>
                  </a:lnTo>
                  <a:lnTo>
                    <a:pt x="58655" y="80353"/>
                  </a:lnTo>
                  <a:lnTo>
                    <a:pt x="58556" y="80055"/>
                  </a:lnTo>
                  <a:lnTo>
                    <a:pt x="58358" y="79857"/>
                  </a:lnTo>
                  <a:lnTo>
                    <a:pt x="57862" y="79461"/>
                  </a:lnTo>
                  <a:lnTo>
                    <a:pt x="57367" y="79164"/>
                  </a:lnTo>
                  <a:lnTo>
                    <a:pt x="56773" y="78866"/>
                  </a:lnTo>
                  <a:lnTo>
                    <a:pt x="56178" y="78668"/>
                  </a:lnTo>
                  <a:lnTo>
                    <a:pt x="54989" y="78173"/>
                  </a:lnTo>
                  <a:lnTo>
                    <a:pt x="53998" y="77578"/>
                  </a:lnTo>
                  <a:lnTo>
                    <a:pt x="53305" y="77182"/>
                  </a:lnTo>
                  <a:lnTo>
                    <a:pt x="52611" y="76885"/>
                  </a:lnTo>
                  <a:lnTo>
                    <a:pt x="51323" y="76290"/>
                  </a:lnTo>
                  <a:lnTo>
                    <a:pt x="50134" y="75597"/>
                  </a:lnTo>
                  <a:lnTo>
                    <a:pt x="49639" y="75399"/>
                  </a:lnTo>
                  <a:lnTo>
                    <a:pt x="49243" y="75101"/>
                  </a:lnTo>
                  <a:lnTo>
                    <a:pt x="48747" y="74903"/>
                  </a:lnTo>
                  <a:lnTo>
                    <a:pt x="48351" y="74606"/>
                  </a:lnTo>
                  <a:lnTo>
                    <a:pt x="47657" y="74012"/>
                  </a:lnTo>
                  <a:lnTo>
                    <a:pt x="47360" y="73813"/>
                  </a:lnTo>
                  <a:lnTo>
                    <a:pt x="47162" y="73516"/>
                  </a:lnTo>
                  <a:lnTo>
                    <a:pt x="46964" y="72922"/>
                  </a:lnTo>
                  <a:lnTo>
                    <a:pt x="46865" y="72327"/>
                  </a:lnTo>
                  <a:lnTo>
                    <a:pt x="46766" y="71733"/>
                  </a:lnTo>
                  <a:lnTo>
                    <a:pt x="46667" y="69553"/>
                  </a:lnTo>
                  <a:lnTo>
                    <a:pt x="46468" y="67274"/>
                  </a:lnTo>
                  <a:lnTo>
                    <a:pt x="46369" y="63806"/>
                  </a:lnTo>
                  <a:lnTo>
                    <a:pt x="46270" y="61627"/>
                  </a:lnTo>
                  <a:lnTo>
                    <a:pt x="46171" y="57664"/>
                  </a:lnTo>
                  <a:lnTo>
                    <a:pt x="46171" y="57466"/>
                  </a:lnTo>
                  <a:lnTo>
                    <a:pt x="46171" y="57366"/>
                  </a:lnTo>
                  <a:lnTo>
                    <a:pt x="46369" y="57267"/>
                  </a:lnTo>
                  <a:lnTo>
                    <a:pt x="46568" y="57168"/>
                  </a:lnTo>
                  <a:lnTo>
                    <a:pt x="47360" y="56871"/>
                  </a:lnTo>
                  <a:lnTo>
                    <a:pt x="47657" y="56673"/>
                  </a:lnTo>
                  <a:lnTo>
                    <a:pt x="47756" y="56475"/>
                  </a:lnTo>
                  <a:lnTo>
                    <a:pt x="47856" y="56277"/>
                  </a:lnTo>
                  <a:lnTo>
                    <a:pt x="48351" y="54493"/>
                  </a:lnTo>
                  <a:lnTo>
                    <a:pt x="48549" y="53998"/>
                  </a:lnTo>
                  <a:lnTo>
                    <a:pt x="48648" y="53601"/>
                  </a:lnTo>
                  <a:lnTo>
                    <a:pt x="48747" y="53205"/>
                  </a:lnTo>
                  <a:lnTo>
                    <a:pt x="48846" y="52710"/>
                  </a:lnTo>
                  <a:lnTo>
                    <a:pt x="49044" y="52313"/>
                  </a:lnTo>
                  <a:lnTo>
                    <a:pt x="49044" y="51917"/>
                  </a:lnTo>
                  <a:lnTo>
                    <a:pt x="49243" y="51323"/>
                  </a:lnTo>
                  <a:lnTo>
                    <a:pt x="49342" y="50728"/>
                  </a:lnTo>
                  <a:lnTo>
                    <a:pt x="49342" y="50530"/>
                  </a:lnTo>
                  <a:lnTo>
                    <a:pt x="49441" y="50431"/>
                  </a:lnTo>
                  <a:lnTo>
                    <a:pt x="49738" y="50332"/>
                  </a:lnTo>
                  <a:lnTo>
                    <a:pt x="51720" y="49936"/>
                  </a:lnTo>
                  <a:lnTo>
                    <a:pt x="55187" y="49044"/>
                  </a:lnTo>
                  <a:lnTo>
                    <a:pt x="56773" y="48548"/>
                  </a:lnTo>
                  <a:lnTo>
                    <a:pt x="58259" y="47855"/>
                  </a:lnTo>
                  <a:lnTo>
                    <a:pt x="58853" y="47558"/>
                  </a:lnTo>
                  <a:lnTo>
                    <a:pt x="59150" y="47459"/>
                  </a:lnTo>
                  <a:lnTo>
                    <a:pt x="59448" y="47459"/>
                  </a:lnTo>
                  <a:lnTo>
                    <a:pt x="59745" y="47360"/>
                  </a:lnTo>
                  <a:lnTo>
                    <a:pt x="60141" y="47260"/>
                  </a:lnTo>
                  <a:lnTo>
                    <a:pt x="60438" y="47161"/>
                  </a:lnTo>
                  <a:lnTo>
                    <a:pt x="60736" y="47062"/>
                  </a:lnTo>
                  <a:lnTo>
                    <a:pt x="60934" y="46963"/>
                  </a:lnTo>
                  <a:lnTo>
                    <a:pt x="61132" y="46864"/>
                  </a:lnTo>
                  <a:lnTo>
                    <a:pt x="61528" y="46567"/>
                  </a:lnTo>
                  <a:lnTo>
                    <a:pt x="62123" y="46270"/>
                  </a:lnTo>
                  <a:lnTo>
                    <a:pt x="62519" y="45873"/>
                  </a:lnTo>
                  <a:lnTo>
                    <a:pt x="63510" y="45180"/>
                  </a:lnTo>
                  <a:lnTo>
                    <a:pt x="63906" y="44684"/>
                  </a:lnTo>
                  <a:lnTo>
                    <a:pt x="64104" y="44486"/>
                  </a:lnTo>
                  <a:lnTo>
                    <a:pt x="64302" y="44288"/>
                  </a:lnTo>
                  <a:lnTo>
                    <a:pt x="64897" y="43892"/>
                  </a:lnTo>
                  <a:lnTo>
                    <a:pt x="65293" y="43396"/>
                  </a:lnTo>
                  <a:lnTo>
                    <a:pt x="65690" y="42901"/>
                  </a:lnTo>
                  <a:lnTo>
                    <a:pt x="66086" y="42307"/>
                  </a:lnTo>
                  <a:lnTo>
                    <a:pt x="66383" y="41712"/>
                  </a:lnTo>
                  <a:lnTo>
                    <a:pt x="66581" y="41019"/>
                  </a:lnTo>
                  <a:lnTo>
                    <a:pt x="66978" y="39731"/>
                  </a:lnTo>
                  <a:lnTo>
                    <a:pt x="67077" y="39037"/>
                  </a:lnTo>
                  <a:lnTo>
                    <a:pt x="67077" y="38343"/>
                  </a:lnTo>
                  <a:lnTo>
                    <a:pt x="67176" y="37749"/>
                  </a:lnTo>
                  <a:lnTo>
                    <a:pt x="67275" y="37055"/>
                  </a:lnTo>
                  <a:lnTo>
                    <a:pt x="67374" y="36659"/>
                  </a:lnTo>
                  <a:lnTo>
                    <a:pt x="67572" y="36461"/>
                  </a:lnTo>
                  <a:lnTo>
                    <a:pt x="68067" y="35966"/>
                  </a:lnTo>
                  <a:lnTo>
                    <a:pt x="69752" y="34777"/>
                  </a:lnTo>
                  <a:lnTo>
                    <a:pt x="70346" y="34281"/>
                  </a:lnTo>
                  <a:lnTo>
                    <a:pt x="70643" y="33984"/>
                  </a:lnTo>
                  <a:lnTo>
                    <a:pt x="70941" y="33786"/>
                  </a:lnTo>
                  <a:lnTo>
                    <a:pt x="71337" y="33588"/>
                  </a:lnTo>
                  <a:lnTo>
                    <a:pt x="71634" y="33290"/>
                  </a:lnTo>
                  <a:lnTo>
                    <a:pt x="71832" y="32993"/>
                  </a:lnTo>
                  <a:lnTo>
                    <a:pt x="72229" y="32795"/>
                  </a:lnTo>
                  <a:lnTo>
                    <a:pt x="72427" y="32597"/>
                  </a:lnTo>
                  <a:lnTo>
                    <a:pt x="72625" y="32498"/>
                  </a:lnTo>
                  <a:lnTo>
                    <a:pt x="72922" y="32102"/>
                  </a:lnTo>
                  <a:lnTo>
                    <a:pt x="74309" y="30714"/>
                  </a:lnTo>
                  <a:lnTo>
                    <a:pt x="74805" y="30120"/>
                  </a:lnTo>
                  <a:lnTo>
                    <a:pt x="75300" y="29625"/>
                  </a:lnTo>
                  <a:lnTo>
                    <a:pt x="75795" y="29129"/>
                  </a:lnTo>
                  <a:lnTo>
                    <a:pt x="76192" y="28634"/>
                  </a:lnTo>
                  <a:lnTo>
                    <a:pt x="76588" y="28138"/>
                  </a:lnTo>
                  <a:lnTo>
                    <a:pt x="76984" y="27643"/>
                  </a:lnTo>
                  <a:lnTo>
                    <a:pt x="77480" y="27148"/>
                  </a:lnTo>
                  <a:lnTo>
                    <a:pt x="77876" y="26553"/>
                  </a:lnTo>
                  <a:lnTo>
                    <a:pt x="78669" y="25463"/>
                  </a:lnTo>
                  <a:lnTo>
                    <a:pt x="79263" y="24373"/>
                  </a:lnTo>
                  <a:lnTo>
                    <a:pt x="79858" y="23383"/>
                  </a:lnTo>
                  <a:lnTo>
                    <a:pt x="80650" y="21896"/>
                  </a:lnTo>
                  <a:lnTo>
                    <a:pt x="81443" y="20311"/>
                  </a:lnTo>
                  <a:lnTo>
                    <a:pt x="81938" y="19320"/>
                  </a:lnTo>
                  <a:lnTo>
                    <a:pt x="82335" y="18330"/>
                  </a:lnTo>
                  <a:lnTo>
                    <a:pt x="83127" y="16348"/>
                  </a:lnTo>
                  <a:lnTo>
                    <a:pt x="83424" y="15357"/>
                  </a:lnTo>
                  <a:lnTo>
                    <a:pt x="83623" y="14862"/>
                  </a:lnTo>
                  <a:lnTo>
                    <a:pt x="83821" y="14367"/>
                  </a:lnTo>
                  <a:lnTo>
                    <a:pt x="84217" y="13277"/>
                  </a:lnTo>
                  <a:lnTo>
                    <a:pt x="84514" y="12088"/>
                  </a:lnTo>
                  <a:lnTo>
                    <a:pt x="85010" y="9908"/>
                  </a:lnTo>
                  <a:lnTo>
                    <a:pt x="85208" y="7530"/>
                  </a:lnTo>
                  <a:lnTo>
                    <a:pt x="85307" y="6143"/>
                  </a:lnTo>
                  <a:lnTo>
                    <a:pt x="85307" y="4756"/>
                  </a:lnTo>
                  <a:lnTo>
                    <a:pt x="85208" y="3171"/>
                  </a:lnTo>
                  <a:lnTo>
                    <a:pt x="84812" y="1486"/>
                  </a:lnTo>
                  <a:lnTo>
                    <a:pt x="84613" y="793"/>
                  </a:lnTo>
                  <a:lnTo>
                    <a:pt x="84415" y="595"/>
                  </a:lnTo>
                  <a:lnTo>
                    <a:pt x="84118" y="397"/>
                  </a:lnTo>
                  <a:lnTo>
                    <a:pt x="83920" y="198"/>
                  </a:lnTo>
                  <a:lnTo>
                    <a:pt x="83623" y="99"/>
                  </a:lnTo>
                  <a:lnTo>
                    <a:pt x="82929" y="99"/>
                  </a:lnTo>
                  <a:lnTo>
                    <a:pt x="82136" y="198"/>
                  </a:lnTo>
                  <a:lnTo>
                    <a:pt x="80650" y="198"/>
                  </a:lnTo>
                  <a:lnTo>
                    <a:pt x="78669" y="397"/>
                  </a:lnTo>
                  <a:lnTo>
                    <a:pt x="76687" y="496"/>
                  </a:lnTo>
                  <a:lnTo>
                    <a:pt x="74805" y="793"/>
                  </a:lnTo>
                  <a:lnTo>
                    <a:pt x="73021" y="1090"/>
                  </a:lnTo>
                  <a:lnTo>
                    <a:pt x="71436" y="1387"/>
                  </a:lnTo>
                  <a:lnTo>
                    <a:pt x="69851" y="1586"/>
                  </a:lnTo>
                  <a:lnTo>
                    <a:pt x="69355" y="1784"/>
                  </a:lnTo>
                  <a:lnTo>
                    <a:pt x="68761" y="1883"/>
                  </a:lnTo>
                  <a:lnTo>
                    <a:pt x="68266" y="1883"/>
                  </a:lnTo>
                  <a:lnTo>
                    <a:pt x="67869" y="2081"/>
                  </a:lnTo>
                  <a:lnTo>
                    <a:pt x="67671" y="2279"/>
                  </a:lnTo>
                  <a:lnTo>
                    <a:pt x="67572" y="2675"/>
                  </a:lnTo>
                  <a:lnTo>
                    <a:pt x="67572" y="3171"/>
                  </a:lnTo>
                  <a:lnTo>
                    <a:pt x="67572" y="3567"/>
                  </a:lnTo>
                  <a:lnTo>
                    <a:pt x="67572" y="4360"/>
                  </a:lnTo>
                  <a:lnTo>
                    <a:pt x="67473" y="5152"/>
                  </a:lnTo>
                  <a:lnTo>
                    <a:pt x="67077" y="6539"/>
                  </a:lnTo>
                  <a:lnTo>
                    <a:pt x="66978" y="7233"/>
                  </a:lnTo>
                  <a:lnTo>
                    <a:pt x="66680" y="7827"/>
                  </a:lnTo>
                  <a:lnTo>
                    <a:pt x="66284" y="8422"/>
                  </a:lnTo>
                  <a:lnTo>
                    <a:pt x="65888" y="9016"/>
                  </a:lnTo>
                  <a:lnTo>
                    <a:pt x="65392" y="9512"/>
                  </a:lnTo>
                  <a:lnTo>
                    <a:pt x="64798" y="9809"/>
                  </a:lnTo>
                  <a:lnTo>
                    <a:pt x="64699" y="9809"/>
                  </a:lnTo>
                  <a:lnTo>
                    <a:pt x="64600" y="9512"/>
                  </a:lnTo>
                  <a:lnTo>
                    <a:pt x="64600" y="9215"/>
                  </a:lnTo>
                  <a:lnTo>
                    <a:pt x="64501" y="9016"/>
                  </a:lnTo>
                  <a:lnTo>
                    <a:pt x="64501" y="8917"/>
                  </a:lnTo>
                  <a:lnTo>
                    <a:pt x="64104" y="7926"/>
                  </a:lnTo>
                  <a:lnTo>
                    <a:pt x="63906" y="6936"/>
                  </a:lnTo>
                  <a:lnTo>
                    <a:pt x="63510" y="5648"/>
                  </a:lnTo>
                  <a:lnTo>
                    <a:pt x="63213" y="4459"/>
                  </a:lnTo>
                  <a:lnTo>
                    <a:pt x="63113" y="4261"/>
                  </a:lnTo>
                  <a:lnTo>
                    <a:pt x="62915" y="4162"/>
                  </a:lnTo>
                  <a:lnTo>
                    <a:pt x="62816" y="4162"/>
                  </a:lnTo>
                  <a:lnTo>
                    <a:pt x="62717" y="4261"/>
                  </a:lnTo>
                  <a:lnTo>
                    <a:pt x="62618" y="4360"/>
                  </a:lnTo>
                  <a:lnTo>
                    <a:pt x="62519" y="4360"/>
                  </a:lnTo>
                  <a:lnTo>
                    <a:pt x="62321" y="4261"/>
                  </a:lnTo>
                  <a:lnTo>
                    <a:pt x="61726" y="3963"/>
                  </a:lnTo>
                  <a:lnTo>
                    <a:pt x="61132" y="3864"/>
                  </a:lnTo>
                  <a:lnTo>
                    <a:pt x="59844" y="3567"/>
                  </a:lnTo>
                  <a:lnTo>
                    <a:pt x="59249" y="3567"/>
                  </a:lnTo>
                  <a:lnTo>
                    <a:pt x="58952" y="3468"/>
                  </a:lnTo>
                  <a:lnTo>
                    <a:pt x="58655" y="3369"/>
                  </a:lnTo>
                  <a:lnTo>
                    <a:pt x="58061" y="3171"/>
                  </a:lnTo>
                  <a:lnTo>
                    <a:pt x="56971" y="3171"/>
                  </a:lnTo>
                  <a:lnTo>
                    <a:pt x="56376" y="3072"/>
                  </a:lnTo>
                  <a:lnTo>
                    <a:pt x="55187" y="2874"/>
                  </a:lnTo>
                  <a:lnTo>
                    <a:pt x="53998" y="2774"/>
                  </a:lnTo>
                  <a:lnTo>
                    <a:pt x="52809" y="2675"/>
                  </a:lnTo>
                  <a:lnTo>
                    <a:pt x="50927" y="2576"/>
                  </a:lnTo>
                  <a:lnTo>
                    <a:pt x="49540" y="2477"/>
                  </a:lnTo>
                  <a:lnTo>
                    <a:pt x="48153" y="2477"/>
                  </a:lnTo>
                  <a:lnTo>
                    <a:pt x="44982" y="2378"/>
                  </a:lnTo>
                  <a:lnTo>
                    <a:pt x="40326" y="2279"/>
                  </a:lnTo>
                  <a:lnTo>
                    <a:pt x="37750" y="2279"/>
                  </a:lnTo>
                  <a:lnTo>
                    <a:pt x="35074" y="2378"/>
                  </a:lnTo>
                  <a:lnTo>
                    <a:pt x="33489" y="2477"/>
                  </a:lnTo>
                  <a:lnTo>
                    <a:pt x="31904" y="2576"/>
                  </a:lnTo>
                  <a:lnTo>
                    <a:pt x="31111" y="2576"/>
                  </a:lnTo>
                  <a:lnTo>
                    <a:pt x="30220" y="2675"/>
                  </a:lnTo>
                  <a:lnTo>
                    <a:pt x="28535" y="2874"/>
                  </a:lnTo>
                  <a:lnTo>
                    <a:pt x="27148" y="2973"/>
                  </a:lnTo>
                  <a:lnTo>
                    <a:pt x="25860" y="3270"/>
                  </a:lnTo>
                  <a:lnTo>
                    <a:pt x="25167" y="3270"/>
                  </a:lnTo>
                  <a:lnTo>
                    <a:pt x="24869" y="3369"/>
                  </a:lnTo>
                  <a:lnTo>
                    <a:pt x="24473" y="3468"/>
                  </a:lnTo>
                  <a:lnTo>
                    <a:pt x="24077" y="3567"/>
                  </a:lnTo>
                  <a:lnTo>
                    <a:pt x="23681" y="3666"/>
                  </a:lnTo>
                  <a:lnTo>
                    <a:pt x="23284" y="3864"/>
                  </a:lnTo>
                  <a:lnTo>
                    <a:pt x="22987" y="4062"/>
                  </a:lnTo>
                  <a:lnTo>
                    <a:pt x="22789" y="4162"/>
                  </a:lnTo>
                  <a:lnTo>
                    <a:pt x="22591" y="4162"/>
                  </a:lnTo>
                  <a:lnTo>
                    <a:pt x="22293" y="4062"/>
                  </a:lnTo>
                  <a:lnTo>
                    <a:pt x="22095" y="4162"/>
                  </a:lnTo>
                  <a:lnTo>
                    <a:pt x="21996" y="4360"/>
                  </a:lnTo>
                  <a:lnTo>
                    <a:pt x="21897" y="4558"/>
                  </a:lnTo>
                  <a:lnTo>
                    <a:pt x="21600" y="5152"/>
                  </a:lnTo>
                  <a:lnTo>
                    <a:pt x="21402" y="5747"/>
                  </a:lnTo>
                  <a:lnTo>
                    <a:pt x="20807" y="7926"/>
                  </a:lnTo>
                  <a:lnTo>
                    <a:pt x="20312" y="9908"/>
                  </a:lnTo>
                  <a:lnTo>
                    <a:pt x="20015" y="9413"/>
                  </a:lnTo>
                  <a:lnTo>
                    <a:pt x="19618" y="9016"/>
                  </a:lnTo>
                  <a:lnTo>
                    <a:pt x="19222" y="8620"/>
                  </a:lnTo>
                  <a:lnTo>
                    <a:pt x="18925" y="8125"/>
                  </a:lnTo>
                  <a:lnTo>
                    <a:pt x="18528" y="7233"/>
                  </a:lnTo>
                  <a:lnTo>
                    <a:pt x="18330" y="6440"/>
                  </a:lnTo>
                  <a:lnTo>
                    <a:pt x="18132" y="5549"/>
                  </a:lnTo>
                  <a:lnTo>
                    <a:pt x="17934" y="4558"/>
                  </a:lnTo>
                  <a:lnTo>
                    <a:pt x="17835" y="2675"/>
                  </a:lnTo>
                  <a:lnTo>
                    <a:pt x="17736" y="2378"/>
                  </a:lnTo>
                  <a:lnTo>
                    <a:pt x="17637" y="2180"/>
                  </a:lnTo>
                  <a:lnTo>
                    <a:pt x="17439" y="2081"/>
                  </a:lnTo>
                  <a:lnTo>
                    <a:pt x="17141" y="2180"/>
                  </a:lnTo>
                  <a:lnTo>
                    <a:pt x="16844" y="2279"/>
                  </a:lnTo>
                  <a:lnTo>
                    <a:pt x="16646" y="2180"/>
                  </a:lnTo>
                  <a:lnTo>
                    <a:pt x="16547" y="2081"/>
                  </a:lnTo>
                  <a:lnTo>
                    <a:pt x="16547" y="1883"/>
                  </a:lnTo>
                  <a:lnTo>
                    <a:pt x="16448" y="1883"/>
                  </a:lnTo>
                  <a:lnTo>
                    <a:pt x="16151" y="1982"/>
                  </a:lnTo>
                  <a:lnTo>
                    <a:pt x="15952" y="1982"/>
                  </a:lnTo>
                  <a:lnTo>
                    <a:pt x="15754" y="1883"/>
                  </a:lnTo>
                  <a:lnTo>
                    <a:pt x="15556" y="1784"/>
                  </a:lnTo>
                  <a:lnTo>
                    <a:pt x="15358" y="1685"/>
                  </a:lnTo>
                  <a:lnTo>
                    <a:pt x="14664" y="1685"/>
                  </a:lnTo>
                  <a:lnTo>
                    <a:pt x="14268" y="1486"/>
                  </a:lnTo>
                  <a:lnTo>
                    <a:pt x="13971" y="1387"/>
                  </a:lnTo>
                  <a:lnTo>
                    <a:pt x="13575" y="1387"/>
                  </a:lnTo>
                  <a:lnTo>
                    <a:pt x="13376" y="1288"/>
                  </a:lnTo>
                  <a:lnTo>
                    <a:pt x="13277" y="1189"/>
                  </a:lnTo>
                  <a:lnTo>
                    <a:pt x="13079" y="1189"/>
                  </a:lnTo>
                  <a:lnTo>
                    <a:pt x="12881" y="1387"/>
                  </a:lnTo>
                  <a:lnTo>
                    <a:pt x="12683" y="1387"/>
                  </a:lnTo>
                  <a:lnTo>
                    <a:pt x="12584" y="1288"/>
                  </a:lnTo>
                  <a:lnTo>
                    <a:pt x="12386" y="1090"/>
                  </a:lnTo>
                  <a:lnTo>
                    <a:pt x="12287" y="1090"/>
                  </a:lnTo>
                  <a:lnTo>
                    <a:pt x="12088" y="1189"/>
                  </a:lnTo>
                  <a:lnTo>
                    <a:pt x="11890" y="1189"/>
                  </a:lnTo>
                  <a:lnTo>
                    <a:pt x="11791" y="1090"/>
                  </a:lnTo>
                  <a:lnTo>
                    <a:pt x="11593" y="991"/>
                  </a:lnTo>
                  <a:lnTo>
                    <a:pt x="11395" y="991"/>
                  </a:lnTo>
                  <a:lnTo>
                    <a:pt x="10999" y="1090"/>
                  </a:lnTo>
                  <a:lnTo>
                    <a:pt x="10602" y="991"/>
                  </a:lnTo>
                  <a:lnTo>
                    <a:pt x="10206" y="892"/>
                  </a:lnTo>
                  <a:lnTo>
                    <a:pt x="9810" y="892"/>
                  </a:lnTo>
                  <a:lnTo>
                    <a:pt x="9711" y="793"/>
                  </a:lnTo>
                  <a:lnTo>
                    <a:pt x="9611" y="694"/>
                  </a:lnTo>
                  <a:lnTo>
                    <a:pt x="9017" y="694"/>
                  </a:lnTo>
                  <a:lnTo>
                    <a:pt x="8720" y="595"/>
                  </a:lnTo>
                  <a:lnTo>
                    <a:pt x="8323" y="595"/>
                  </a:lnTo>
                  <a:lnTo>
                    <a:pt x="7828" y="496"/>
                  </a:lnTo>
                  <a:lnTo>
                    <a:pt x="7333" y="496"/>
                  </a:lnTo>
                  <a:lnTo>
                    <a:pt x="6738" y="397"/>
                  </a:lnTo>
                  <a:lnTo>
                    <a:pt x="3667" y="397"/>
                  </a:lnTo>
                  <a:lnTo>
                    <a:pt x="3370" y="496"/>
                  </a:lnTo>
                  <a:lnTo>
                    <a:pt x="3171" y="397"/>
                  </a:lnTo>
                  <a:lnTo>
                    <a:pt x="2478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" name="Google Shape;413;p31">
              <a:extLst>
                <a:ext uri="{FF2B5EF4-FFF2-40B4-BE49-F238E27FC236}">
                  <a16:creationId xmlns:a16="http://schemas.microsoft.com/office/drawing/2014/main" id="{F346FFC2-D406-1120-2D14-6BE1FB670FF6}"/>
                </a:ext>
              </a:extLst>
            </p:cNvPr>
            <p:cNvSpPr/>
            <p:nvPr/>
          </p:nvSpPr>
          <p:spPr>
            <a:xfrm>
              <a:off x="3249367" y="1156254"/>
              <a:ext cx="2640465" cy="3575819"/>
            </a:xfrm>
            <a:custGeom>
              <a:avLst/>
              <a:gdLst/>
              <a:ahLst/>
              <a:cxnLst/>
              <a:rect l="l" t="t" r="r" b="b"/>
              <a:pathLst>
                <a:path w="85307" h="115526" extrusionOk="0">
                  <a:moveTo>
                    <a:pt x="6144" y="4756"/>
                  </a:moveTo>
                  <a:lnTo>
                    <a:pt x="7135" y="4954"/>
                  </a:lnTo>
                  <a:lnTo>
                    <a:pt x="8125" y="5152"/>
                  </a:lnTo>
                  <a:lnTo>
                    <a:pt x="9116" y="5251"/>
                  </a:lnTo>
                  <a:lnTo>
                    <a:pt x="10107" y="5350"/>
                  </a:lnTo>
                  <a:lnTo>
                    <a:pt x="11593" y="5648"/>
                  </a:lnTo>
                  <a:lnTo>
                    <a:pt x="12386" y="5747"/>
                  </a:lnTo>
                  <a:lnTo>
                    <a:pt x="13079" y="5648"/>
                  </a:lnTo>
                  <a:lnTo>
                    <a:pt x="13575" y="5747"/>
                  </a:lnTo>
                  <a:lnTo>
                    <a:pt x="14268" y="5747"/>
                  </a:lnTo>
                  <a:lnTo>
                    <a:pt x="14466" y="5846"/>
                  </a:lnTo>
                  <a:lnTo>
                    <a:pt x="14565" y="6044"/>
                  </a:lnTo>
                  <a:lnTo>
                    <a:pt x="14664" y="6341"/>
                  </a:lnTo>
                  <a:lnTo>
                    <a:pt x="14863" y="6936"/>
                  </a:lnTo>
                  <a:lnTo>
                    <a:pt x="15061" y="7629"/>
                  </a:lnTo>
                  <a:lnTo>
                    <a:pt x="15556" y="8818"/>
                  </a:lnTo>
                  <a:lnTo>
                    <a:pt x="16151" y="10007"/>
                  </a:lnTo>
                  <a:lnTo>
                    <a:pt x="16547" y="10503"/>
                  </a:lnTo>
                  <a:lnTo>
                    <a:pt x="16943" y="11097"/>
                  </a:lnTo>
                  <a:lnTo>
                    <a:pt x="17637" y="11791"/>
                  </a:lnTo>
                  <a:lnTo>
                    <a:pt x="18429" y="12484"/>
                  </a:lnTo>
                  <a:lnTo>
                    <a:pt x="18826" y="12880"/>
                  </a:lnTo>
                  <a:lnTo>
                    <a:pt x="19024" y="13079"/>
                  </a:lnTo>
                  <a:lnTo>
                    <a:pt x="19321" y="13178"/>
                  </a:lnTo>
                  <a:lnTo>
                    <a:pt x="19420" y="13376"/>
                  </a:lnTo>
                  <a:lnTo>
                    <a:pt x="19420" y="13475"/>
                  </a:lnTo>
                  <a:lnTo>
                    <a:pt x="19420" y="13673"/>
                  </a:lnTo>
                  <a:lnTo>
                    <a:pt x="19222" y="14168"/>
                  </a:lnTo>
                  <a:lnTo>
                    <a:pt x="19123" y="14664"/>
                  </a:lnTo>
                  <a:lnTo>
                    <a:pt x="19024" y="15754"/>
                  </a:lnTo>
                  <a:lnTo>
                    <a:pt x="18925" y="16447"/>
                  </a:lnTo>
                  <a:lnTo>
                    <a:pt x="18826" y="17042"/>
                  </a:lnTo>
                  <a:lnTo>
                    <a:pt x="18628" y="17636"/>
                  </a:lnTo>
                  <a:lnTo>
                    <a:pt x="18628" y="18330"/>
                  </a:lnTo>
                  <a:lnTo>
                    <a:pt x="18429" y="19320"/>
                  </a:lnTo>
                  <a:lnTo>
                    <a:pt x="18231" y="20212"/>
                  </a:lnTo>
                  <a:lnTo>
                    <a:pt x="18132" y="20807"/>
                  </a:lnTo>
                  <a:lnTo>
                    <a:pt x="18033" y="21500"/>
                  </a:lnTo>
                  <a:lnTo>
                    <a:pt x="17934" y="22689"/>
                  </a:lnTo>
                  <a:lnTo>
                    <a:pt x="17736" y="23779"/>
                  </a:lnTo>
                  <a:lnTo>
                    <a:pt x="17736" y="24770"/>
                  </a:lnTo>
                  <a:lnTo>
                    <a:pt x="17439" y="28931"/>
                  </a:lnTo>
                  <a:lnTo>
                    <a:pt x="17439" y="29724"/>
                  </a:lnTo>
                  <a:lnTo>
                    <a:pt x="17439" y="30516"/>
                  </a:lnTo>
                  <a:lnTo>
                    <a:pt x="17538" y="31408"/>
                  </a:lnTo>
                  <a:lnTo>
                    <a:pt x="17439" y="32300"/>
                  </a:lnTo>
                  <a:lnTo>
                    <a:pt x="17439" y="32498"/>
                  </a:lnTo>
                  <a:lnTo>
                    <a:pt x="17538" y="32597"/>
                  </a:lnTo>
                  <a:lnTo>
                    <a:pt x="17538" y="32795"/>
                  </a:lnTo>
                  <a:lnTo>
                    <a:pt x="17439" y="32894"/>
                  </a:lnTo>
                  <a:lnTo>
                    <a:pt x="17240" y="32894"/>
                  </a:lnTo>
                  <a:lnTo>
                    <a:pt x="17141" y="32696"/>
                  </a:lnTo>
                  <a:lnTo>
                    <a:pt x="16943" y="32399"/>
                  </a:lnTo>
                  <a:lnTo>
                    <a:pt x="15655" y="30814"/>
                  </a:lnTo>
                  <a:lnTo>
                    <a:pt x="15061" y="30021"/>
                  </a:lnTo>
                  <a:lnTo>
                    <a:pt x="14466" y="29228"/>
                  </a:lnTo>
                  <a:lnTo>
                    <a:pt x="13079" y="27049"/>
                  </a:lnTo>
                  <a:lnTo>
                    <a:pt x="11692" y="24968"/>
                  </a:lnTo>
                  <a:lnTo>
                    <a:pt x="9810" y="21698"/>
                  </a:lnTo>
                  <a:lnTo>
                    <a:pt x="9314" y="20608"/>
                  </a:lnTo>
                  <a:lnTo>
                    <a:pt x="8819" y="19519"/>
                  </a:lnTo>
                  <a:lnTo>
                    <a:pt x="7927" y="17339"/>
                  </a:lnTo>
                  <a:lnTo>
                    <a:pt x="7234" y="15357"/>
                  </a:lnTo>
                  <a:lnTo>
                    <a:pt x="6639" y="13277"/>
                  </a:lnTo>
                  <a:lnTo>
                    <a:pt x="6243" y="11592"/>
                  </a:lnTo>
                  <a:lnTo>
                    <a:pt x="5946" y="9809"/>
                  </a:lnTo>
                  <a:lnTo>
                    <a:pt x="5847" y="8620"/>
                  </a:lnTo>
                  <a:lnTo>
                    <a:pt x="5747" y="7332"/>
                  </a:lnTo>
                  <a:lnTo>
                    <a:pt x="5648" y="6738"/>
                  </a:lnTo>
                  <a:lnTo>
                    <a:pt x="5747" y="6143"/>
                  </a:lnTo>
                  <a:lnTo>
                    <a:pt x="5847" y="4855"/>
                  </a:lnTo>
                  <a:lnTo>
                    <a:pt x="5946" y="4756"/>
                  </a:lnTo>
                  <a:close/>
                  <a:moveTo>
                    <a:pt x="78966" y="4954"/>
                  </a:moveTo>
                  <a:lnTo>
                    <a:pt x="79263" y="5053"/>
                  </a:lnTo>
                  <a:lnTo>
                    <a:pt x="79362" y="5053"/>
                  </a:lnTo>
                  <a:lnTo>
                    <a:pt x="79461" y="5251"/>
                  </a:lnTo>
                  <a:lnTo>
                    <a:pt x="79461" y="5549"/>
                  </a:lnTo>
                  <a:lnTo>
                    <a:pt x="79560" y="5846"/>
                  </a:lnTo>
                  <a:lnTo>
                    <a:pt x="79560" y="6242"/>
                  </a:lnTo>
                  <a:lnTo>
                    <a:pt x="79560" y="6936"/>
                  </a:lnTo>
                  <a:lnTo>
                    <a:pt x="79560" y="7233"/>
                  </a:lnTo>
                  <a:lnTo>
                    <a:pt x="79560" y="7431"/>
                  </a:lnTo>
                  <a:lnTo>
                    <a:pt x="79659" y="7530"/>
                  </a:lnTo>
                  <a:lnTo>
                    <a:pt x="79759" y="7629"/>
                  </a:lnTo>
                  <a:lnTo>
                    <a:pt x="79659" y="7728"/>
                  </a:lnTo>
                  <a:lnTo>
                    <a:pt x="79560" y="7827"/>
                  </a:lnTo>
                  <a:lnTo>
                    <a:pt x="79461" y="7926"/>
                  </a:lnTo>
                  <a:lnTo>
                    <a:pt x="79659" y="8026"/>
                  </a:lnTo>
                  <a:lnTo>
                    <a:pt x="79560" y="8125"/>
                  </a:lnTo>
                  <a:lnTo>
                    <a:pt x="79560" y="8224"/>
                  </a:lnTo>
                  <a:lnTo>
                    <a:pt x="79560" y="8422"/>
                  </a:lnTo>
                  <a:lnTo>
                    <a:pt x="79560" y="8620"/>
                  </a:lnTo>
                  <a:lnTo>
                    <a:pt x="79560" y="8719"/>
                  </a:lnTo>
                  <a:lnTo>
                    <a:pt x="79461" y="8818"/>
                  </a:lnTo>
                  <a:lnTo>
                    <a:pt x="79362" y="8917"/>
                  </a:lnTo>
                  <a:lnTo>
                    <a:pt x="79461" y="9016"/>
                  </a:lnTo>
                  <a:lnTo>
                    <a:pt x="79560" y="9115"/>
                  </a:lnTo>
                  <a:lnTo>
                    <a:pt x="79461" y="9314"/>
                  </a:lnTo>
                  <a:lnTo>
                    <a:pt x="79461" y="9413"/>
                  </a:lnTo>
                  <a:lnTo>
                    <a:pt x="79461" y="9710"/>
                  </a:lnTo>
                  <a:lnTo>
                    <a:pt x="79560" y="10007"/>
                  </a:lnTo>
                  <a:lnTo>
                    <a:pt x="79560" y="10106"/>
                  </a:lnTo>
                  <a:lnTo>
                    <a:pt x="79560" y="10304"/>
                  </a:lnTo>
                  <a:lnTo>
                    <a:pt x="79461" y="10602"/>
                  </a:lnTo>
                  <a:lnTo>
                    <a:pt x="79362" y="10800"/>
                  </a:lnTo>
                  <a:lnTo>
                    <a:pt x="79263" y="10998"/>
                  </a:lnTo>
                  <a:lnTo>
                    <a:pt x="79263" y="11097"/>
                  </a:lnTo>
                  <a:lnTo>
                    <a:pt x="79461" y="11295"/>
                  </a:lnTo>
                  <a:lnTo>
                    <a:pt x="79362" y="11592"/>
                  </a:lnTo>
                  <a:lnTo>
                    <a:pt x="79362" y="11691"/>
                  </a:lnTo>
                  <a:lnTo>
                    <a:pt x="79164" y="11791"/>
                  </a:lnTo>
                  <a:lnTo>
                    <a:pt x="79065" y="11890"/>
                  </a:lnTo>
                  <a:lnTo>
                    <a:pt x="78966" y="11989"/>
                  </a:lnTo>
                  <a:lnTo>
                    <a:pt x="78966" y="12286"/>
                  </a:lnTo>
                  <a:lnTo>
                    <a:pt x="78966" y="12385"/>
                  </a:lnTo>
                  <a:lnTo>
                    <a:pt x="79164" y="12385"/>
                  </a:lnTo>
                  <a:lnTo>
                    <a:pt x="79263" y="12484"/>
                  </a:lnTo>
                  <a:lnTo>
                    <a:pt x="78966" y="12682"/>
                  </a:lnTo>
                  <a:lnTo>
                    <a:pt x="78867" y="12880"/>
                  </a:lnTo>
                  <a:lnTo>
                    <a:pt x="78768" y="13178"/>
                  </a:lnTo>
                  <a:lnTo>
                    <a:pt x="78768" y="13574"/>
                  </a:lnTo>
                  <a:lnTo>
                    <a:pt x="78768" y="13673"/>
                  </a:lnTo>
                  <a:lnTo>
                    <a:pt x="78669" y="13871"/>
                  </a:lnTo>
                  <a:lnTo>
                    <a:pt x="78570" y="14069"/>
                  </a:lnTo>
                  <a:lnTo>
                    <a:pt x="78768" y="14267"/>
                  </a:lnTo>
                  <a:lnTo>
                    <a:pt x="78570" y="14367"/>
                  </a:lnTo>
                  <a:lnTo>
                    <a:pt x="78471" y="14565"/>
                  </a:lnTo>
                  <a:lnTo>
                    <a:pt x="78272" y="15456"/>
                  </a:lnTo>
                  <a:lnTo>
                    <a:pt x="78074" y="15952"/>
                  </a:lnTo>
                  <a:lnTo>
                    <a:pt x="77777" y="16249"/>
                  </a:lnTo>
                  <a:lnTo>
                    <a:pt x="77678" y="16348"/>
                  </a:lnTo>
                  <a:lnTo>
                    <a:pt x="77678" y="16447"/>
                  </a:lnTo>
                  <a:lnTo>
                    <a:pt x="77777" y="16844"/>
                  </a:lnTo>
                  <a:lnTo>
                    <a:pt x="77678" y="17240"/>
                  </a:lnTo>
                  <a:lnTo>
                    <a:pt x="77183" y="18032"/>
                  </a:lnTo>
                  <a:lnTo>
                    <a:pt x="76885" y="18627"/>
                  </a:lnTo>
                  <a:lnTo>
                    <a:pt x="76885" y="18924"/>
                  </a:lnTo>
                  <a:lnTo>
                    <a:pt x="76885" y="19320"/>
                  </a:lnTo>
                  <a:lnTo>
                    <a:pt x="76885" y="19420"/>
                  </a:lnTo>
                  <a:lnTo>
                    <a:pt x="76687" y="19320"/>
                  </a:lnTo>
                  <a:lnTo>
                    <a:pt x="76588" y="19420"/>
                  </a:lnTo>
                  <a:lnTo>
                    <a:pt x="76588" y="19717"/>
                  </a:lnTo>
                  <a:lnTo>
                    <a:pt x="76489" y="20014"/>
                  </a:lnTo>
                  <a:lnTo>
                    <a:pt x="76489" y="20113"/>
                  </a:lnTo>
                  <a:lnTo>
                    <a:pt x="76291" y="20113"/>
                  </a:lnTo>
                  <a:lnTo>
                    <a:pt x="76192" y="20608"/>
                  </a:lnTo>
                  <a:lnTo>
                    <a:pt x="76093" y="21005"/>
                  </a:lnTo>
                  <a:lnTo>
                    <a:pt x="75895" y="21302"/>
                  </a:lnTo>
                  <a:lnTo>
                    <a:pt x="75696" y="21599"/>
                  </a:lnTo>
                  <a:lnTo>
                    <a:pt x="75399" y="21896"/>
                  </a:lnTo>
                  <a:lnTo>
                    <a:pt x="75498" y="22095"/>
                  </a:lnTo>
                  <a:lnTo>
                    <a:pt x="75498" y="22194"/>
                  </a:lnTo>
                  <a:lnTo>
                    <a:pt x="75300" y="22491"/>
                  </a:lnTo>
                  <a:lnTo>
                    <a:pt x="75102" y="22689"/>
                  </a:lnTo>
                  <a:lnTo>
                    <a:pt x="75003" y="22986"/>
                  </a:lnTo>
                  <a:lnTo>
                    <a:pt x="74805" y="23383"/>
                  </a:lnTo>
                  <a:lnTo>
                    <a:pt x="74607" y="23779"/>
                  </a:lnTo>
                  <a:lnTo>
                    <a:pt x="74111" y="24473"/>
                  </a:lnTo>
                  <a:lnTo>
                    <a:pt x="73616" y="25166"/>
                  </a:lnTo>
                  <a:lnTo>
                    <a:pt x="72724" y="26652"/>
                  </a:lnTo>
                  <a:lnTo>
                    <a:pt x="71931" y="27841"/>
                  </a:lnTo>
                  <a:lnTo>
                    <a:pt x="71535" y="28436"/>
                  </a:lnTo>
                  <a:lnTo>
                    <a:pt x="71238" y="29030"/>
                  </a:lnTo>
                  <a:lnTo>
                    <a:pt x="71040" y="29228"/>
                  </a:lnTo>
                  <a:lnTo>
                    <a:pt x="70842" y="29426"/>
                  </a:lnTo>
                  <a:lnTo>
                    <a:pt x="70643" y="29724"/>
                  </a:lnTo>
                  <a:lnTo>
                    <a:pt x="70544" y="30021"/>
                  </a:lnTo>
                  <a:lnTo>
                    <a:pt x="70544" y="30120"/>
                  </a:lnTo>
                  <a:lnTo>
                    <a:pt x="70346" y="30120"/>
                  </a:lnTo>
                  <a:lnTo>
                    <a:pt x="70247" y="30219"/>
                  </a:lnTo>
                  <a:lnTo>
                    <a:pt x="70148" y="30219"/>
                  </a:lnTo>
                  <a:lnTo>
                    <a:pt x="69950" y="30714"/>
                  </a:lnTo>
                  <a:lnTo>
                    <a:pt x="69653" y="31111"/>
                  </a:lnTo>
                  <a:lnTo>
                    <a:pt x="69058" y="31804"/>
                  </a:lnTo>
                  <a:lnTo>
                    <a:pt x="68662" y="32399"/>
                  </a:lnTo>
                  <a:lnTo>
                    <a:pt x="68464" y="32696"/>
                  </a:lnTo>
                  <a:lnTo>
                    <a:pt x="68166" y="32993"/>
                  </a:lnTo>
                  <a:lnTo>
                    <a:pt x="68067" y="33092"/>
                  </a:lnTo>
                  <a:lnTo>
                    <a:pt x="67968" y="33290"/>
                  </a:lnTo>
                  <a:lnTo>
                    <a:pt x="67869" y="33489"/>
                  </a:lnTo>
                  <a:lnTo>
                    <a:pt x="67770" y="33588"/>
                  </a:lnTo>
                  <a:lnTo>
                    <a:pt x="67473" y="33588"/>
                  </a:lnTo>
                  <a:lnTo>
                    <a:pt x="67671" y="33290"/>
                  </a:lnTo>
                  <a:lnTo>
                    <a:pt x="67671" y="32993"/>
                  </a:lnTo>
                  <a:lnTo>
                    <a:pt x="67572" y="32399"/>
                  </a:lnTo>
                  <a:lnTo>
                    <a:pt x="67572" y="31210"/>
                  </a:lnTo>
                  <a:lnTo>
                    <a:pt x="67572" y="29922"/>
                  </a:lnTo>
                  <a:lnTo>
                    <a:pt x="67572" y="28237"/>
                  </a:lnTo>
                  <a:lnTo>
                    <a:pt x="67572" y="27445"/>
                  </a:lnTo>
                  <a:lnTo>
                    <a:pt x="67473" y="26553"/>
                  </a:lnTo>
                  <a:lnTo>
                    <a:pt x="67374" y="25959"/>
                  </a:lnTo>
                  <a:lnTo>
                    <a:pt x="67374" y="25661"/>
                  </a:lnTo>
                  <a:lnTo>
                    <a:pt x="67374" y="25265"/>
                  </a:lnTo>
                  <a:lnTo>
                    <a:pt x="67374" y="24968"/>
                  </a:lnTo>
                  <a:lnTo>
                    <a:pt x="67374" y="24572"/>
                  </a:lnTo>
                  <a:lnTo>
                    <a:pt x="67176" y="23779"/>
                  </a:lnTo>
                  <a:lnTo>
                    <a:pt x="66978" y="21896"/>
                  </a:lnTo>
                  <a:lnTo>
                    <a:pt x="66680" y="20014"/>
                  </a:lnTo>
                  <a:lnTo>
                    <a:pt x="66383" y="18330"/>
                  </a:lnTo>
                  <a:lnTo>
                    <a:pt x="66086" y="16645"/>
                  </a:lnTo>
                  <a:lnTo>
                    <a:pt x="65888" y="15258"/>
                  </a:lnTo>
                  <a:lnTo>
                    <a:pt x="65590" y="13871"/>
                  </a:lnTo>
                  <a:lnTo>
                    <a:pt x="65491" y="13673"/>
                  </a:lnTo>
                  <a:lnTo>
                    <a:pt x="65590" y="13475"/>
                  </a:lnTo>
                  <a:lnTo>
                    <a:pt x="65690" y="13178"/>
                  </a:lnTo>
                  <a:lnTo>
                    <a:pt x="65987" y="12979"/>
                  </a:lnTo>
                  <a:lnTo>
                    <a:pt x="66284" y="12979"/>
                  </a:lnTo>
                  <a:lnTo>
                    <a:pt x="66878" y="12682"/>
                  </a:lnTo>
                  <a:lnTo>
                    <a:pt x="67374" y="12187"/>
                  </a:lnTo>
                  <a:lnTo>
                    <a:pt x="68166" y="11295"/>
                  </a:lnTo>
                  <a:lnTo>
                    <a:pt x="68761" y="10602"/>
                  </a:lnTo>
                  <a:lnTo>
                    <a:pt x="69256" y="9809"/>
                  </a:lnTo>
                  <a:lnTo>
                    <a:pt x="69752" y="8917"/>
                  </a:lnTo>
                  <a:lnTo>
                    <a:pt x="70049" y="8026"/>
                  </a:lnTo>
                  <a:lnTo>
                    <a:pt x="70346" y="7134"/>
                  </a:lnTo>
                  <a:lnTo>
                    <a:pt x="70544" y="6341"/>
                  </a:lnTo>
                  <a:lnTo>
                    <a:pt x="70643" y="6143"/>
                  </a:lnTo>
                  <a:lnTo>
                    <a:pt x="70742" y="5945"/>
                  </a:lnTo>
                  <a:lnTo>
                    <a:pt x="70941" y="5846"/>
                  </a:lnTo>
                  <a:lnTo>
                    <a:pt x="72526" y="5846"/>
                  </a:lnTo>
                  <a:lnTo>
                    <a:pt x="73913" y="5648"/>
                  </a:lnTo>
                  <a:lnTo>
                    <a:pt x="75399" y="5549"/>
                  </a:lnTo>
                  <a:lnTo>
                    <a:pt x="76786" y="5251"/>
                  </a:lnTo>
                  <a:lnTo>
                    <a:pt x="77678" y="5152"/>
                  </a:lnTo>
                  <a:lnTo>
                    <a:pt x="78669" y="5053"/>
                  </a:lnTo>
                  <a:lnTo>
                    <a:pt x="78966" y="4954"/>
                  </a:lnTo>
                  <a:close/>
                  <a:moveTo>
                    <a:pt x="1883" y="1288"/>
                  </a:moveTo>
                  <a:lnTo>
                    <a:pt x="2379" y="1387"/>
                  </a:lnTo>
                  <a:lnTo>
                    <a:pt x="5747" y="1387"/>
                  </a:lnTo>
                  <a:lnTo>
                    <a:pt x="7630" y="1586"/>
                  </a:lnTo>
                  <a:lnTo>
                    <a:pt x="9215" y="1685"/>
                  </a:lnTo>
                  <a:lnTo>
                    <a:pt x="10900" y="1883"/>
                  </a:lnTo>
                  <a:lnTo>
                    <a:pt x="11989" y="2081"/>
                  </a:lnTo>
                  <a:lnTo>
                    <a:pt x="12584" y="2180"/>
                  </a:lnTo>
                  <a:lnTo>
                    <a:pt x="13178" y="2279"/>
                  </a:lnTo>
                  <a:lnTo>
                    <a:pt x="13575" y="2279"/>
                  </a:lnTo>
                  <a:lnTo>
                    <a:pt x="13971" y="2378"/>
                  </a:lnTo>
                  <a:lnTo>
                    <a:pt x="14664" y="2576"/>
                  </a:lnTo>
                  <a:lnTo>
                    <a:pt x="16250" y="2774"/>
                  </a:lnTo>
                  <a:lnTo>
                    <a:pt x="16646" y="2874"/>
                  </a:lnTo>
                  <a:lnTo>
                    <a:pt x="16943" y="3072"/>
                  </a:lnTo>
                  <a:lnTo>
                    <a:pt x="17042" y="3369"/>
                  </a:lnTo>
                  <a:lnTo>
                    <a:pt x="17042" y="3864"/>
                  </a:lnTo>
                  <a:lnTo>
                    <a:pt x="17141" y="5053"/>
                  </a:lnTo>
                  <a:lnTo>
                    <a:pt x="17439" y="6143"/>
                  </a:lnTo>
                  <a:lnTo>
                    <a:pt x="17637" y="7134"/>
                  </a:lnTo>
                  <a:lnTo>
                    <a:pt x="17835" y="7629"/>
                  </a:lnTo>
                  <a:lnTo>
                    <a:pt x="18033" y="8125"/>
                  </a:lnTo>
                  <a:lnTo>
                    <a:pt x="18330" y="8719"/>
                  </a:lnTo>
                  <a:lnTo>
                    <a:pt x="18528" y="8917"/>
                  </a:lnTo>
                  <a:lnTo>
                    <a:pt x="18727" y="9215"/>
                  </a:lnTo>
                  <a:lnTo>
                    <a:pt x="20015" y="10602"/>
                  </a:lnTo>
                  <a:lnTo>
                    <a:pt x="20114" y="10701"/>
                  </a:lnTo>
                  <a:lnTo>
                    <a:pt x="20015" y="10800"/>
                  </a:lnTo>
                  <a:lnTo>
                    <a:pt x="19817" y="11592"/>
                  </a:lnTo>
                  <a:lnTo>
                    <a:pt x="19717" y="12088"/>
                  </a:lnTo>
                  <a:lnTo>
                    <a:pt x="19618" y="12385"/>
                  </a:lnTo>
                  <a:lnTo>
                    <a:pt x="19420" y="12286"/>
                  </a:lnTo>
                  <a:lnTo>
                    <a:pt x="19024" y="11989"/>
                  </a:lnTo>
                  <a:lnTo>
                    <a:pt x="18330" y="11394"/>
                  </a:lnTo>
                  <a:lnTo>
                    <a:pt x="17637" y="10800"/>
                  </a:lnTo>
                  <a:lnTo>
                    <a:pt x="17141" y="10106"/>
                  </a:lnTo>
                  <a:lnTo>
                    <a:pt x="16646" y="9413"/>
                  </a:lnTo>
                  <a:lnTo>
                    <a:pt x="15952" y="8125"/>
                  </a:lnTo>
                  <a:lnTo>
                    <a:pt x="15556" y="6738"/>
                  </a:lnTo>
                  <a:lnTo>
                    <a:pt x="15160" y="5450"/>
                  </a:lnTo>
                  <a:lnTo>
                    <a:pt x="14962" y="5152"/>
                  </a:lnTo>
                  <a:lnTo>
                    <a:pt x="14664" y="5053"/>
                  </a:lnTo>
                  <a:lnTo>
                    <a:pt x="14070" y="4954"/>
                  </a:lnTo>
                  <a:lnTo>
                    <a:pt x="11395" y="4657"/>
                  </a:lnTo>
                  <a:lnTo>
                    <a:pt x="8819" y="4360"/>
                  </a:lnTo>
                  <a:lnTo>
                    <a:pt x="7432" y="4162"/>
                  </a:lnTo>
                  <a:lnTo>
                    <a:pt x="5648" y="4162"/>
                  </a:lnTo>
                  <a:lnTo>
                    <a:pt x="5450" y="4360"/>
                  </a:lnTo>
                  <a:lnTo>
                    <a:pt x="5252" y="4657"/>
                  </a:lnTo>
                  <a:lnTo>
                    <a:pt x="5153" y="5053"/>
                  </a:lnTo>
                  <a:lnTo>
                    <a:pt x="5153" y="5945"/>
                  </a:lnTo>
                  <a:lnTo>
                    <a:pt x="5054" y="6341"/>
                  </a:lnTo>
                  <a:lnTo>
                    <a:pt x="4955" y="6837"/>
                  </a:lnTo>
                  <a:lnTo>
                    <a:pt x="4856" y="7035"/>
                  </a:lnTo>
                  <a:lnTo>
                    <a:pt x="4757" y="7431"/>
                  </a:lnTo>
                  <a:lnTo>
                    <a:pt x="4856" y="7728"/>
                  </a:lnTo>
                  <a:lnTo>
                    <a:pt x="5054" y="8026"/>
                  </a:lnTo>
                  <a:lnTo>
                    <a:pt x="4955" y="8521"/>
                  </a:lnTo>
                  <a:lnTo>
                    <a:pt x="4955" y="9016"/>
                  </a:lnTo>
                  <a:lnTo>
                    <a:pt x="5054" y="9611"/>
                  </a:lnTo>
                  <a:lnTo>
                    <a:pt x="5054" y="10106"/>
                  </a:lnTo>
                  <a:lnTo>
                    <a:pt x="4955" y="10602"/>
                  </a:lnTo>
                  <a:lnTo>
                    <a:pt x="5054" y="11097"/>
                  </a:lnTo>
                  <a:lnTo>
                    <a:pt x="5351" y="12187"/>
                  </a:lnTo>
                  <a:lnTo>
                    <a:pt x="5450" y="12880"/>
                  </a:lnTo>
                  <a:lnTo>
                    <a:pt x="5549" y="13178"/>
                  </a:lnTo>
                  <a:lnTo>
                    <a:pt x="5648" y="13475"/>
                  </a:lnTo>
                  <a:lnTo>
                    <a:pt x="5747" y="13970"/>
                  </a:lnTo>
                  <a:lnTo>
                    <a:pt x="5847" y="14466"/>
                  </a:lnTo>
                  <a:lnTo>
                    <a:pt x="5946" y="14961"/>
                  </a:lnTo>
                  <a:lnTo>
                    <a:pt x="6045" y="15258"/>
                  </a:lnTo>
                  <a:lnTo>
                    <a:pt x="6144" y="15456"/>
                  </a:lnTo>
                  <a:lnTo>
                    <a:pt x="6441" y="15754"/>
                  </a:lnTo>
                  <a:lnTo>
                    <a:pt x="6540" y="16051"/>
                  </a:lnTo>
                  <a:lnTo>
                    <a:pt x="6639" y="16744"/>
                  </a:lnTo>
                  <a:lnTo>
                    <a:pt x="6837" y="17141"/>
                  </a:lnTo>
                  <a:lnTo>
                    <a:pt x="7135" y="17636"/>
                  </a:lnTo>
                  <a:lnTo>
                    <a:pt x="7234" y="18032"/>
                  </a:lnTo>
                  <a:lnTo>
                    <a:pt x="7234" y="18627"/>
                  </a:lnTo>
                  <a:lnTo>
                    <a:pt x="7333" y="18726"/>
                  </a:lnTo>
                  <a:lnTo>
                    <a:pt x="7432" y="18825"/>
                  </a:lnTo>
                  <a:lnTo>
                    <a:pt x="7630" y="18924"/>
                  </a:lnTo>
                  <a:lnTo>
                    <a:pt x="7630" y="19023"/>
                  </a:lnTo>
                  <a:lnTo>
                    <a:pt x="7630" y="19420"/>
                  </a:lnTo>
                  <a:lnTo>
                    <a:pt x="7828" y="19717"/>
                  </a:lnTo>
                  <a:lnTo>
                    <a:pt x="7927" y="20014"/>
                  </a:lnTo>
                  <a:lnTo>
                    <a:pt x="8125" y="20212"/>
                  </a:lnTo>
                  <a:lnTo>
                    <a:pt x="8423" y="21005"/>
                  </a:lnTo>
                  <a:lnTo>
                    <a:pt x="8819" y="21797"/>
                  </a:lnTo>
                  <a:lnTo>
                    <a:pt x="9215" y="22590"/>
                  </a:lnTo>
                  <a:lnTo>
                    <a:pt x="9413" y="23383"/>
                  </a:lnTo>
                  <a:lnTo>
                    <a:pt x="9512" y="23581"/>
                  </a:lnTo>
                  <a:lnTo>
                    <a:pt x="9711" y="23779"/>
                  </a:lnTo>
                  <a:lnTo>
                    <a:pt x="10107" y="24274"/>
                  </a:lnTo>
                  <a:lnTo>
                    <a:pt x="10305" y="24572"/>
                  </a:lnTo>
                  <a:lnTo>
                    <a:pt x="10503" y="24869"/>
                  </a:lnTo>
                  <a:lnTo>
                    <a:pt x="10800" y="25463"/>
                  </a:lnTo>
                  <a:lnTo>
                    <a:pt x="11098" y="25860"/>
                  </a:lnTo>
                  <a:lnTo>
                    <a:pt x="11494" y="26256"/>
                  </a:lnTo>
                  <a:lnTo>
                    <a:pt x="11692" y="26751"/>
                  </a:lnTo>
                  <a:lnTo>
                    <a:pt x="11989" y="27148"/>
                  </a:lnTo>
                  <a:lnTo>
                    <a:pt x="12584" y="28039"/>
                  </a:lnTo>
                  <a:lnTo>
                    <a:pt x="13277" y="29030"/>
                  </a:lnTo>
                  <a:lnTo>
                    <a:pt x="13872" y="30021"/>
                  </a:lnTo>
                  <a:lnTo>
                    <a:pt x="14565" y="30913"/>
                  </a:lnTo>
                  <a:lnTo>
                    <a:pt x="14863" y="31507"/>
                  </a:lnTo>
                  <a:lnTo>
                    <a:pt x="15061" y="31804"/>
                  </a:lnTo>
                  <a:lnTo>
                    <a:pt x="15457" y="32002"/>
                  </a:lnTo>
                  <a:lnTo>
                    <a:pt x="15556" y="32102"/>
                  </a:lnTo>
                  <a:lnTo>
                    <a:pt x="15754" y="32300"/>
                  </a:lnTo>
                  <a:lnTo>
                    <a:pt x="15952" y="32795"/>
                  </a:lnTo>
                  <a:lnTo>
                    <a:pt x="16250" y="33191"/>
                  </a:lnTo>
                  <a:lnTo>
                    <a:pt x="16547" y="33489"/>
                  </a:lnTo>
                  <a:lnTo>
                    <a:pt x="17240" y="34182"/>
                  </a:lnTo>
                  <a:lnTo>
                    <a:pt x="17439" y="34479"/>
                  </a:lnTo>
                  <a:lnTo>
                    <a:pt x="17538" y="34876"/>
                  </a:lnTo>
                  <a:lnTo>
                    <a:pt x="17637" y="35173"/>
                  </a:lnTo>
                  <a:lnTo>
                    <a:pt x="17736" y="35569"/>
                  </a:lnTo>
                  <a:lnTo>
                    <a:pt x="15754" y="33885"/>
                  </a:lnTo>
                  <a:lnTo>
                    <a:pt x="14764" y="32993"/>
                  </a:lnTo>
                  <a:lnTo>
                    <a:pt x="13773" y="32102"/>
                  </a:lnTo>
                  <a:lnTo>
                    <a:pt x="12683" y="31111"/>
                  </a:lnTo>
                  <a:lnTo>
                    <a:pt x="11593" y="30120"/>
                  </a:lnTo>
                  <a:lnTo>
                    <a:pt x="10999" y="29426"/>
                  </a:lnTo>
                  <a:lnTo>
                    <a:pt x="10404" y="28733"/>
                  </a:lnTo>
                  <a:lnTo>
                    <a:pt x="9810" y="28138"/>
                  </a:lnTo>
                  <a:lnTo>
                    <a:pt x="9413" y="27643"/>
                  </a:lnTo>
                  <a:lnTo>
                    <a:pt x="8522" y="26454"/>
                  </a:lnTo>
                  <a:lnTo>
                    <a:pt x="7729" y="25364"/>
                  </a:lnTo>
                  <a:lnTo>
                    <a:pt x="6936" y="24175"/>
                  </a:lnTo>
                  <a:lnTo>
                    <a:pt x="6639" y="23680"/>
                  </a:lnTo>
                  <a:lnTo>
                    <a:pt x="6342" y="23085"/>
                  </a:lnTo>
                  <a:lnTo>
                    <a:pt x="5747" y="21996"/>
                  </a:lnTo>
                  <a:lnTo>
                    <a:pt x="5252" y="21104"/>
                  </a:lnTo>
                  <a:lnTo>
                    <a:pt x="4757" y="20113"/>
                  </a:lnTo>
                  <a:lnTo>
                    <a:pt x="3964" y="18528"/>
                  </a:lnTo>
                  <a:lnTo>
                    <a:pt x="3667" y="17735"/>
                  </a:lnTo>
                  <a:lnTo>
                    <a:pt x="3271" y="16844"/>
                  </a:lnTo>
                  <a:lnTo>
                    <a:pt x="2874" y="15655"/>
                  </a:lnTo>
                  <a:lnTo>
                    <a:pt x="2577" y="14367"/>
                  </a:lnTo>
                  <a:lnTo>
                    <a:pt x="2280" y="13277"/>
                  </a:lnTo>
                  <a:lnTo>
                    <a:pt x="1983" y="12187"/>
                  </a:lnTo>
                  <a:lnTo>
                    <a:pt x="1487" y="9809"/>
                  </a:lnTo>
                  <a:lnTo>
                    <a:pt x="1289" y="8719"/>
                  </a:lnTo>
                  <a:lnTo>
                    <a:pt x="1190" y="7530"/>
                  </a:lnTo>
                  <a:lnTo>
                    <a:pt x="1091" y="6539"/>
                  </a:lnTo>
                  <a:lnTo>
                    <a:pt x="992" y="5648"/>
                  </a:lnTo>
                  <a:lnTo>
                    <a:pt x="893" y="4756"/>
                  </a:lnTo>
                  <a:lnTo>
                    <a:pt x="992" y="3864"/>
                  </a:lnTo>
                  <a:lnTo>
                    <a:pt x="1190" y="2675"/>
                  </a:lnTo>
                  <a:lnTo>
                    <a:pt x="1289" y="2081"/>
                  </a:lnTo>
                  <a:lnTo>
                    <a:pt x="1487" y="1586"/>
                  </a:lnTo>
                  <a:lnTo>
                    <a:pt x="1685" y="1288"/>
                  </a:lnTo>
                  <a:close/>
                  <a:moveTo>
                    <a:pt x="83524" y="1090"/>
                  </a:moveTo>
                  <a:lnTo>
                    <a:pt x="83722" y="1288"/>
                  </a:lnTo>
                  <a:lnTo>
                    <a:pt x="83920" y="1586"/>
                  </a:lnTo>
                  <a:lnTo>
                    <a:pt x="84118" y="2874"/>
                  </a:lnTo>
                  <a:lnTo>
                    <a:pt x="84316" y="4162"/>
                  </a:lnTo>
                  <a:lnTo>
                    <a:pt x="84316" y="5152"/>
                  </a:lnTo>
                  <a:lnTo>
                    <a:pt x="84316" y="6143"/>
                  </a:lnTo>
                  <a:lnTo>
                    <a:pt x="84019" y="8224"/>
                  </a:lnTo>
                  <a:lnTo>
                    <a:pt x="83821" y="9512"/>
                  </a:lnTo>
                  <a:lnTo>
                    <a:pt x="83623" y="10899"/>
                  </a:lnTo>
                  <a:lnTo>
                    <a:pt x="83424" y="11890"/>
                  </a:lnTo>
                  <a:lnTo>
                    <a:pt x="83127" y="12880"/>
                  </a:lnTo>
                  <a:lnTo>
                    <a:pt x="82929" y="13673"/>
                  </a:lnTo>
                  <a:lnTo>
                    <a:pt x="82731" y="14466"/>
                  </a:lnTo>
                  <a:lnTo>
                    <a:pt x="82235" y="15952"/>
                  </a:lnTo>
                  <a:lnTo>
                    <a:pt x="81938" y="17240"/>
                  </a:lnTo>
                  <a:lnTo>
                    <a:pt x="81641" y="17834"/>
                  </a:lnTo>
                  <a:lnTo>
                    <a:pt x="81245" y="18429"/>
                  </a:lnTo>
                  <a:lnTo>
                    <a:pt x="81047" y="18825"/>
                  </a:lnTo>
                  <a:lnTo>
                    <a:pt x="80947" y="19023"/>
                  </a:lnTo>
                  <a:lnTo>
                    <a:pt x="80947" y="19320"/>
                  </a:lnTo>
                  <a:lnTo>
                    <a:pt x="80848" y="19519"/>
                  </a:lnTo>
                  <a:lnTo>
                    <a:pt x="80650" y="19816"/>
                  </a:lnTo>
                  <a:lnTo>
                    <a:pt x="80452" y="20113"/>
                  </a:lnTo>
                  <a:lnTo>
                    <a:pt x="80254" y="20708"/>
                  </a:lnTo>
                  <a:lnTo>
                    <a:pt x="79759" y="21500"/>
                  </a:lnTo>
                  <a:lnTo>
                    <a:pt x="79362" y="22392"/>
                  </a:lnTo>
                  <a:lnTo>
                    <a:pt x="78867" y="23383"/>
                  </a:lnTo>
                  <a:lnTo>
                    <a:pt x="78272" y="24373"/>
                  </a:lnTo>
                  <a:lnTo>
                    <a:pt x="77975" y="24869"/>
                  </a:lnTo>
                  <a:lnTo>
                    <a:pt x="77579" y="25364"/>
                  </a:lnTo>
                  <a:lnTo>
                    <a:pt x="76885" y="26256"/>
                  </a:lnTo>
                  <a:lnTo>
                    <a:pt x="76192" y="27346"/>
                  </a:lnTo>
                  <a:lnTo>
                    <a:pt x="75300" y="28237"/>
                  </a:lnTo>
                  <a:lnTo>
                    <a:pt x="73517" y="30219"/>
                  </a:lnTo>
                  <a:lnTo>
                    <a:pt x="72427" y="31309"/>
                  </a:lnTo>
                  <a:lnTo>
                    <a:pt x="71238" y="32399"/>
                  </a:lnTo>
                  <a:lnTo>
                    <a:pt x="70346" y="33191"/>
                  </a:lnTo>
                  <a:lnTo>
                    <a:pt x="69454" y="33984"/>
                  </a:lnTo>
                  <a:lnTo>
                    <a:pt x="68563" y="34678"/>
                  </a:lnTo>
                  <a:lnTo>
                    <a:pt x="67770" y="35470"/>
                  </a:lnTo>
                  <a:lnTo>
                    <a:pt x="67572" y="35569"/>
                  </a:lnTo>
                  <a:lnTo>
                    <a:pt x="67374" y="35569"/>
                  </a:lnTo>
                  <a:lnTo>
                    <a:pt x="67374" y="35470"/>
                  </a:lnTo>
                  <a:lnTo>
                    <a:pt x="67473" y="35272"/>
                  </a:lnTo>
                  <a:lnTo>
                    <a:pt x="67473" y="34975"/>
                  </a:lnTo>
                  <a:lnTo>
                    <a:pt x="67572" y="34777"/>
                  </a:lnTo>
                  <a:lnTo>
                    <a:pt x="67869" y="34380"/>
                  </a:lnTo>
                  <a:lnTo>
                    <a:pt x="68266" y="33984"/>
                  </a:lnTo>
                  <a:lnTo>
                    <a:pt x="68662" y="33687"/>
                  </a:lnTo>
                  <a:lnTo>
                    <a:pt x="69851" y="32300"/>
                  </a:lnTo>
                  <a:lnTo>
                    <a:pt x="70941" y="30913"/>
                  </a:lnTo>
                  <a:lnTo>
                    <a:pt x="72625" y="28634"/>
                  </a:lnTo>
                  <a:lnTo>
                    <a:pt x="73616" y="26949"/>
                  </a:lnTo>
                  <a:lnTo>
                    <a:pt x="74706" y="25364"/>
                  </a:lnTo>
                  <a:lnTo>
                    <a:pt x="75300" y="24274"/>
                  </a:lnTo>
                  <a:lnTo>
                    <a:pt x="75994" y="23085"/>
                  </a:lnTo>
                  <a:lnTo>
                    <a:pt x="76390" y="22095"/>
                  </a:lnTo>
                  <a:lnTo>
                    <a:pt x="76687" y="21599"/>
                  </a:lnTo>
                  <a:lnTo>
                    <a:pt x="76984" y="21203"/>
                  </a:lnTo>
                  <a:lnTo>
                    <a:pt x="77183" y="20906"/>
                  </a:lnTo>
                  <a:lnTo>
                    <a:pt x="77183" y="20708"/>
                  </a:lnTo>
                  <a:lnTo>
                    <a:pt x="77381" y="20113"/>
                  </a:lnTo>
                  <a:lnTo>
                    <a:pt x="77678" y="19420"/>
                  </a:lnTo>
                  <a:lnTo>
                    <a:pt x="78173" y="18231"/>
                  </a:lnTo>
                  <a:lnTo>
                    <a:pt x="79362" y="14763"/>
                  </a:lnTo>
                  <a:lnTo>
                    <a:pt x="79659" y="13772"/>
                  </a:lnTo>
                  <a:lnTo>
                    <a:pt x="79858" y="12781"/>
                  </a:lnTo>
                  <a:lnTo>
                    <a:pt x="80155" y="10701"/>
                  </a:lnTo>
                  <a:lnTo>
                    <a:pt x="80353" y="9611"/>
                  </a:lnTo>
                  <a:lnTo>
                    <a:pt x="80452" y="8422"/>
                  </a:lnTo>
                  <a:lnTo>
                    <a:pt x="80452" y="7332"/>
                  </a:lnTo>
                  <a:lnTo>
                    <a:pt x="80452" y="6143"/>
                  </a:lnTo>
                  <a:lnTo>
                    <a:pt x="80353" y="5648"/>
                  </a:lnTo>
                  <a:lnTo>
                    <a:pt x="80254" y="5152"/>
                  </a:lnTo>
                  <a:lnTo>
                    <a:pt x="80056" y="4756"/>
                  </a:lnTo>
                  <a:lnTo>
                    <a:pt x="79659" y="4360"/>
                  </a:lnTo>
                  <a:lnTo>
                    <a:pt x="79461" y="4261"/>
                  </a:lnTo>
                  <a:lnTo>
                    <a:pt x="79362" y="4162"/>
                  </a:lnTo>
                  <a:lnTo>
                    <a:pt x="79263" y="4261"/>
                  </a:lnTo>
                  <a:lnTo>
                    <a:pt x="78966" y="4360"/>
                  </a:lnTo>
                  <a:lnTo>
                    <a:pt x="78074" y="4360"/>
                  </a:lnTo>
                  <a:lnTo>
                    <a:pt x="77282" y="4459"/>
                  </a:lnTo>
                  <a:lnTo>
                    <a:pt x="76588" y="4558"/>
                  </a:lnTo>
                  <a:lnTo>
                    <a:pt x="75994" y="4657"/>
                  </a:lnTo>
                  <a:lnTo>
                    <a:pt x="75399" y="4657"/>
                  </a:lnTo>
                  <a:lnTo>
                    <a:pt x="74805" y="4756"/>
                  </a:lnTo>
                  <a:lnTo>
                    <a:pt x="74210" y="4855"/>
                  </a:lnTo>
                  <a:lnTo>
                    <a:pt x="73418" y="4954"/>
                  </a:lnTo>
                  <a:lnTo>
                    <a:pt x="72625" y="5053"/>
                  </a:lnTo>
                  <a:lnTo>
                    <a:pt x="72130" y="5053"/>
                  </a:lnTo>
                  <a:lnTo>
                    <a:pt x="71634" y="5152"/>
                  </a:lnTo>
                  <a:lnTo>
                    <a:pt x="70643" y="5251"/>
                  </a:lnTo>
                  <a:lnTo>
                    <a:pt x="70445" y="5251"/>
                  </a:lnTo>
                  <a:lnTo>
                    <a:pt x="70346" y="5350"/>
                  </a:lnTo>
                  <a:lnTo>
                    <a:pt x="70247" y="5450"/>
                  </a:lnTo>
                  <a:lnTo>
                    <a:pt x="70148" y="5747"/>
                  </a:lnTo>
                  <a:lnTo>
                    <a:pt x="69851" y="6539"/>
                  </a:lnTo>
                  <a:lnTo>
                    <a:pt x="69554" y="7332"/>
                  </a:lnTo>
                  <a:lnTo>
                    <a:pt x="68959" y="8719"/>
                  </a:lnTo>
                  <a:lnTo>
                    <a:pt x="68662" y="9413"/>
                  </a:lnTo>
                  <a:lnTo>
                    <a:pt x="68266" y="10007"/>
                  </a:lnTo>
                  <a:lnTo>
                    <a:pt x="67572" y="10800"/>
                  </a:lnTo>
                  <a:lnTo>
                    <a:pt x="66878" y="11493"/>
                  </a:lnTo>
                  <a:lnTo>
                    <a:pt x="66185" y="12088"/>
                  </a:lnTo>
                  <a:lnTo>
                    <a:pt x="65293" y="12682"/>
                  </a:lnTo>
                  <a:lnTo>
                    <a:pt x="65293" y="12187"/>
                  </a:lnTo>
                  <a:lnTo>
                    <a:pt x="65194" y="11791"/>
                  </a:lnTo>
                  <a:lnTo>
                    <a:pt x="64996" y="11097"/>
                  </a:lnTo>
                  <a:lnTo>
                    <a:pt x="64996" y="10800"/>
                  </a:lnTo>
                  <a:lnTo>
                    <a:pt x="65194" y="10503"/>
                  </a:lnTo>
                  <a:lnTo>
                    <a:pt x="66185" y="9710"/>
                  </a:lnTo>
                  <a:lnTo>
                    <a:pt x="66680" y="9215"/>
                  </a:lnTo>
                  <a:lnTo>
                    <a:pt x="67077" y="8620"/>
                  </a:lnTo>
                  <a:lnTo>
                    <a:pt x="67671" y="7431"/>
                  </a:lnTo>
                  <a:lnTo>
                    <a:pt x="67968" y="6242"/>
                  </a:lnTo>
                  <a:lnTo>
                    <a:pt x="68266" y="4954"/>
                  </a:lnTo>
                  <a:lnTo>
                    <a:pt x="68464" y="3666"/>
                  </a:lnTo>
                  <a:lnTo>
                    <a:pt x="68365" y="3369"/>
                  </a:lnTo>
                  <a:lnTo>
                    <a:pt x="68563" y="3072"/>
                  </a:lnTo>
                  <a:lnTo>
                    <a:pt x="68662" y="2874"/>
                  </a:lnTo>
                  <a:lnTo>
                    <a:pt x="68860" y="2874"/>
                  </a:lnTo>
                  <a:lnTo>
                    <a:pt x="69653" y="2576"/>
                  </a:lnTo>
                  <a:lnTo>
                    <a:pt x="70049" y="2477"/>
                  </a:lnTo>
                  <a:lnTo>
                    <a:pt x="70445" y="2477"/>
                  </a:lnTo>
                  <a:lnTo>
                    <a:pt x="70941" y="2378"/>
                  </a:lnTo>
                  <a:lnTo>
                    <a:pt x="71436" y="2279"/>
                  </a:lnTo>
                  <a:lnTo>
                    <a:pt x="71931" y="2180"/>
                  </a:lnTo>
                  <a:lnTo>
                    <a:pt x="72427" y="2081"/>
                  </a:lnTo>
                  <a:lnTo>
                    <a:pt x="73616" y="2081"/>
                  </a:lnTo>
                  <a:lnTo>
                    <a:pt x="74210" y="1982"/>
                  </a:lnTo>
                  <a:lnTo>
                    <a:pt x="74706" y="1685"/>
                  </a:lnTo>
                  <a:lnTo>
                    <a:pt x="75003" y="1586"/>
                  </a:lnTo>
                  <a:lnTo>
                    <a:pt x="75201" y="1486"/>
                  </a:lnTo>
                  <a:lnTo>
                    <a:pt x="75300" y="1288"/>
                  </a:lnTo>
                  <a:lnTo>
                    <a:pt x="75399" y="1586"/>
                  </a:lnTo>
                  <a:lnTo>
                    <a:pt x="75597" y="1685"/>
                  </a:lnTo>
                  <a:lnTo>
                    <a:pt x="75795" y="1685"/>
                  </a:lnTo>
                  <a:lnTo>
                    <a:pt x="76093" y="1586"/>
                  </a:lnTo>
                  <a:lnTo>
                    <a:pt x="76390" y="1486"/>
                  </a:lnTo>
                  <a:lnTo>
                    <a:pt x="77282" y="1486"/>
                  </a:lnTo>
                  <a:lnTo>
                    <a:pt x="78173" y="1288"/>
                  </a:lnTo>
                  <a:lnTo>
                    <a:pt x="79263" y="1288"/>
                  </a:lnTo>
                  <a:lnTo>
                    <a:pt x="79759" y="1387"/>
                  </a:lnTo>
                  <a:lnTo>
                    <a:pt x="80155" y="1288"/>
                  </a:lnTo>
                  <a:lnTo>
                    <a:pt x="81047" y="1288"/>
                  </a:lnTo>
                  <a:lnTo>
                    <a:pt x="81938" y="1387"/>
                  </a:lnTo>
                  <a:lnTo>
                    <a:pt x="82335" y="1288"/>
                  </a:lnTo>
                  <a:lnTo>
                    <a:pt x="82731" y="1189"/>
                  </a:lnTo>
                  <a:lnTo>
                    <a:pt x="82929" y="1189"/>
                  </a:lnTo>
                  <a:lnTo>
                    <a:pt x="83127" y="1288"/>
                  </a:lnTo>
                  <a:lnTo>
                    <a:pt x="83325" y="1288"/>
                  </a:lnTo>
                  <a:lnTo>
                    <a:pt x="83524" y="1090"/>
                  </a:lnTo>
                  <a:close/>
                  <a:moveTo>
                    <a:pt x="46270" y="3567"/>
                  </a:moveTo>
                  <a:lnTo>
                    <a:pt x="49243" y="3666"/>
                  </a:lnTo>
                  <a:lnTo>
                    <a:pt x="52116" y="3864"/>
                  </a:lnTo>
                  <a:lnTo>
                    <a:pt x="55484" y="4162"/>
                  </a:lnTo>
                  <a:lnTo>
                    <a:pt x="56872" y="4261"/>
                  </a:lnTo>
                  <a:lnTo>
                    <a:pt x="57664" y="4360"/>
                  </a:lnTo>
                  <a:lnTo>
                    <a:pt x="58358" y="4261"/>
                  </a:lnTo>
                  <a:lnTo>
                    <a:pt x="59249" y="4261"/>
                  </a:lnTo>
                  <a:lnTo>
                    <a:pt x="60042" y="4459"/>
                  </a:lnTo>
                  <a:lnTo>
                    <a:pt x="61726" y="4756"/>
                  </a:lnTo>
                  <a:lnTo>
                    <a:pt x="62123" y="4954"/>
                  </a:lnTo>
                  <a:lnTo>
                    <a:pt x="62420" y="5152"/>
                  </a:lnTo>
                  <a:lnTo>
                    <a:pt x="62717" y="5549"/>
                  </a:lnTo>
                  <a:lnTo>
                    <a:pt x="62816" y="6143"/>
                  </a:lnTo>
                  <a:lnTo>
                    <a:pt x="63312" y="8818"/>
                  </a:lnTo>
                  <a:lnTo>
                    <a:pt x="63510" y="9512"/>
                  </a:lnTo>
                  <a:lnTo>
                    <a:pt x="63807" y="10205"/>
                  </a:lnTo>
                  <a:lnTo>
                    <a:pt x="63906" y="10503"/>
                  </a:lnTo>
                  <a:lnTo>
                    <a:pt x="63807" y="10602"/>
                  </a:lnTo>
                  <a:lnTo>
                    <a:pt x="63807" y="10800"/>
                  </a:lnTo>
                  <a:lnTo>
                    <a:pt x="63807" y="10998"/>
                  </a:lnTo>
                  <a:lnTo>
                    <a:pt x="64005" y="11493"/>
                  </a:lnTo>
                  <a:lnTo>
                    <a:pt x="64203" y="12088"/>
                  </a:lnTo>
                  <a:lnTo>
                    <a:pt x="64401" y="13178"/>
                  </a:lnTo>
                  <a:lnTo>
                    <a:pt x="64501" y="13673"/>
                  </a:lnTo>
                  <a:lnTo>
                    <a:pt x="64600" y="13970"/>
                  </a:lnTo>
                  <a:lnTo>
                    <a:pt x="64798" y="14168"/>
                  </a:lnTo>
                  <a:lnTo>
                    <a:pt x="64897" y="14168"/>
                  </a:lnTo>
                  <a:lnTo>
                    <a:pt x="64897" y="14267"/>
                  </a:lnTo>
                  <a:lnTo>
                    <a:pt x="64798" y="14367"/>
                  </a:lnTo>
                  <a:lnTo>
                    <a:pt x="64699" y="14466"/>
                  </a:lnTo>
                  <a:lnTo>
                    <a:pt x="64897" y="15060"/>
                  </a:lnTo>
                  <a:lnTo>
                    <a:pt x="64996" y="15754"/>
                  </a:lnTo>
                  <a:lnTo>
                    <a:pt x="65194" y="17141"/>
                  </a:lnTo>
                  <a:lnTo>
                    <a:pt x="65392" y="18528"/>
                  </a:lnTo>
                  <a:lnTo>
                    <a:pt x="65888" y="21302"/>
                  </a:lnTo>
                  <a:lnTo>
                    <a:pt x="65987" y="21996"/>
                  </a:lnTo>
                  <a:lnTo>
                    <a:pt x="65987" y="22788"/>
                  </a:lnTo>
                  <a:lnTo>
                    <a:pt x="66185" y="23581"/>
                  </a:lnTo>
                  <a:lnTo>
                    <a:pt x="66284" y="24473"/>
                  </a:lnTo>
                  <a:lnTo>
                    <a:pt x="66383" y="25959"/>
                  </a:lnTo>
                  <a:lnTo>
                    <a:pt x="66482" y="27445"/>
                  </a:lnTo>
                  <a:lnTo>
                    <a:pt x="66581" y="29426"/>
                  </a:lnTo>
                  <a:lnTo>
                    <a:pt x="66581" y="31408"/>
                  </a:lnTo>
                  <a:lnTo>
                    <a:pt x="66581" y="33092"/>
                  </a:lnTo>
                  <a:lnTo>
                    <a:pt x="66482" y="34777"/>
                  </a:lnTo>
                  <a:lnTo>
                    <a:pt x="66482" y="35668"/>
                  </a:lnTo>
                  <a:lnTo>
                    <a:pt x="66383" y="36164"/>
                  </a:lnTo>
                  <a:lnTo>
                    <a:pt x="66284" y="36659"/>
                  </a:lnTo>
                  <a:lnTo>
                    <a:pt x="66185" y="36857"/>
                  </a:lnTo>
                  <a:lnTo>
                    <a:pt x="66086" y="36956"/>
                  </a:lnTo>
                  <a:lnTo>
                    <a:pt x="65888" y="37155"/>
                  </a:lnTo>
                  <a:lnTo>
                    <a:pt x="65789" y="37254"/>
                  </a:lnTo>
                  <a:lnTo>
                    <a:pt x="65888" y="37353"/>
                  </a:lnTo>
                  <a:lnTo>
                    <a:pt x="66086" y="37452"/>
                  </a:lnTo>
                  <a:lnTo>
                    <a:pt x="66185" y="37650"/>
                  </a:lnTo>
                  <a:lnTo>
                    <a:pt x="66086" y="37947"/>
                  </a:lnTo>
                  <a:lnTo>
                    <a:pt x="65987" y="38343"/>
                  </a:lnTo>
                  <a:lnTo>
                    <a:pt x="65888" y="39136"/>
                  </a:lnTo>
                  <a:lnTo>
                    <a:pt x="65392" y="40919"/>
                  </a:lnTo>
                  <a:lnTo>
                    <a:pt x="64897" y="42009"/>
                  </a:lnTo>
                  <a:lnTo>
                    <a:pt x="64600" y="42406"/>
                  </a:lnTo>
                  <a:lnTo>
                    <a:pt x="64302" y="42802"/>
                  </a:lnTo>
                  <a:lnTo>
                    <a:pt x="64005" y="43198"/>
                  </a:lnTo>
                  <a:lnTo>
                    <a:pt x="63807" y="43694"/>
                  </a:lnTo>
                  <a:lnTo>
                    <a:pt x="63609" y="43793"/>
                  </a:lnTo>
                  <a:lnTo>
                    <a:pt x="63213" y="43991"/>
                  </a:lnTo>
                  <a:lnTo>
                    <a:pt x="62915" y="44288"/>
                  </a:lnTo>
                  <a:lnTo>
                    <a:pt x="62321" y="44883"/>
                  </a:lnTo>
                  <a:lnTo>
                    <a:pt x="61528" y="45378"/>
                  </a:lnTo>
                  <a:lnTo>
                    <a:pt x="60637" y="45873"/>
                  </a:lnTo>
                  <a:lnTo>
                    <a:pt x="59547" y="46468"/>
                  </a:lnTo>
                  <a:lnTo>
                    <a:pt x="59051" y="46765"/>
                  </a:lnTo>
                  <a:lnTo>
                    <a:pt x="58556" y="46963"/>
                  </a:lnTo>
                  <a:lnTo>
                    <a:pt x="57862" y="47161"/>
                  </a:lnTo>
                  <a:lnTo>
                    <a:pt x="57565" y="47260"/>
                  </a:lnTo>
                  <a:lnTo>
                    <a:pt x="57169" y="47360"/>
                  </a:lnTo>
                  <a:lnTo>
                    <a:pt x="56971" y="47360"/>
                  </a:lnTo>
                  <a:lnTo>
                    <a:pt x="56872" y="47558"/>
                  </a:lnTo>
                  <a:lnTo>
                    <a:pt x="56773" y="47657"/>
                  </a:lnTo>
                  <a:lnTo>
                    <a:pt x="56574" y="47657"/>
                  </a:lnTo>
                  <a:lnTo>
                    <a:pt x="56376" y="47558"/>
                  </a:lnTo>
                  <a:lnTo>
                    <a:pt x="56277" y="47558"/>
                  </a:lnTo>
                  <a:lnTo>
                    <a:pt x="55980" y="47657"/>
                  </a:lnTo>
                  <a:lnTo>
                    <a:pt x="54395" y="48251"/>
                  </a:lnTo>
                  <a:lnTo>
                    <a:pt x="53305" y="48449"/>
                  </a:lnTo>
                  <a:lnTo>
                    <a:pt x="52314" y="48747"/>
                  </a:lnTo>
                  <a:lnTo>
                    <a:pt x="51620" y="48945"/>
                  </a:lnTo>
                  <a:lnTo>
                    <a:pt x="50927" y="49143"/>
                  </a:lnTo>
                  <a:lnTo>
                    <a:pt x="49540" y="49341"/>
                  </a:lnTo>
                  <a:lnTo>
                    <a:pt x="48945" y="49440"/>
                  </a:lnTo>
                  <a:lnTo>
                    <a:pt x="48648" y="49539"/>
                  </a:lnTo>
                  <a:lnTo>
                    <a:pt x="48351" y="49638"/>
                  </a:lnTo>
                  <a:lnTo>
                    <a:pt x="48153" y="49638"/>
                  </a:lnTo>
                  <a:lnTo>
                    <a:pt x="48054" y="49539"/>
                  </a:lnTo>
                  <a:lnTo>
                    <a:pt x="47657" y="49539"/>
                  </a:lnTo>
                  <a:lnTo>
                    <a:pt x="46964" y="49737"/>
                  </a:lnTo>
                  <a:lnTo>
                    <a:pt x="46270" y="49936"/>
                  </a:lnTo>
                  <a:lnTo>
                    <a:pt x="44883" y="50035"/>
                  </a:lnTo>
                  <a:lnTo>
                    <a:pt x="43991" y="50035"/>
                  </a:lnTo>
                  <a:lnTo>
                    <a:pt x="43100" y="49936"/>
                  </a:lnTo>
                  <a:lnTo>
                    <a:pt x="40920" y="49936"/>
                  </a:lnTo>
                  <a:lnTo>
                    <a:pt x="38740" y="49737"/>
                  </a:lnTo>
                  <a:lnTo>
                    <a:pt x="35174" y="49242"/>
                  </a:lnTo>
                  <a:lnTo>
                    <a:pt x="33886" y="49044"/>
                  </a:lnTo>
                  <a:lnTo>
                    <a:pt x="32498" y="48648"/>
                  </a:lnTo>
                  <a:lnTo>
                    <a:pt x="29823" y="47855"/>
                  </a:lnTo>
                  <a:lnTo>
                    <a:pt x="28238" y="47360"/>
                  </a:lnTo>
                  <a:lnTo>
                    <a:pt x="26653" y="46765"/>
                  </a:lnTo>
                  <a:lnTo>
                    <a:pt x="25860" y="46468"/>
                  </a:lnTo>
                  <a:lnTo>
                    <a:pt x="25068" y="46072"/>
                  </a:lnTo>
                  <a:lnTo>
                    <a:pt x="23482" y="45180"/>
                  </a:lnTo>
                  <a:lnTo>
                    <a:pt x="22888" y="44684"/>
                  </a:lnTo>
                  <a:lnTo>
                    <a:pt x="22293" y="44189"/>
                  </a:lnTo>
                  <a:lnTo>
                    <a:pt x="21798" y="43694"/>
                  </a:lnTo>
                  <a:lnTo>
                    <a:pt x="21303" y="43099"/>
                  </a:lnTo>
                  <a:lnTo>
                    <a:pt x="20510" y="41811"/>
                  </a:lnTo>
                  <a:lnTo>
                    <a:pt x="19817" y="40424"/>
                  </a:lnTo>
                  <a:lnTo>
                    <a:pt x="19519" y="39334"/>
                  </a:lnTo>
                  <a:lnTo>
                    <a:pt x="19321" y="38839"/>
                  </a:lnTo>
                  <a:lnTo>
                    <a:pt x="19123" y="38343"/>
                  </a:lnTo>
                  <a:lnTo>
                    <a:pt x="19123" y="38244"/>
                  </a:lnTo>
                  <a:lnTo>
                    <a:pt x="19222" y="38145"/>
                  </a:lnTo>
                  <a:lnTo>
                    <a:pt x="19321" y="37947"/>
                  </a:lnTo>
                  <a:lnTo>
                    <a:pt x="19222" y="37848"/>
                  </a:lnTo>
                  <a:lnTo>
                    <a:pt x="19024" y="37551"/>
                  </a:lnTo>
                  <a:lnTo>
                    <a:pt x="18826" y="37353"/>
                  </a:lnTo>
                  <a:lnTo>
                    <a:pt x="19024" y="37254"/>
                  </a:lnTo>
                  <a:lnTo>
                    <a:pt x="19123" y="37254"/>
                  </a:lnTo>
                  <a:lnTo>
                    <a:pt x="19321" y="37353"/>
                  </a:lnTo>
                  <a:lnTo>
                    <a:pt x="19519" y="37254"/>
                  </a:lnTo>
                  <a:lnTo>
                    <a:pt x="19123" y="36857"/>
                  </a:lnTo>
                  <a:lnTo>
                    <a:pt x="18925" y="36560"/>
                  </a:lnTo>
                  <a:lnTo>
                    <a:pt x="18826" y="36263"/>
                  </a:lnTo>
                  <a:lnTo>
                    <a:pt x="18727" y="35866"/>
                  </a:lnTo>
                  <a:lnTo>
                    <a:pt x="18727" y="35668"/>
                  </a:lnTo>
                  <a:lnTo>
                    <a:pt x="18727" y="35371"/>
                  </a:lnTo>
                  <a:lnTo>
                    <a:pt x="18826" y="35272"/>
                  </a:lnTo>
                  <a:lnTo>
                    <a:pt x="18727" y="35173"/>
                  </a:lnTo>
                  <a:lnTo>
                    <a:pt x="18628" y="34876"/>
                  </a:lnTo>
                  <a:lnTo>
                    <a:pt x="18628" y="33687"/>
                  </a:lnTo>
                  <a:lnTo>
                    <a:pt x="18628" y="32498"/>
                  </a:lnTo>
                  <a:lnTo>
                    <a:pt x="18628" y="32399"/>
                  </a:lnTo>
                  <a:lnTo>
                    <a:pt x="18528" y="32201"/>
                  </a:lnTo>
                  <a:lnTo>
                    <a:pt x="18330" y="32002"/>
                  </a:lnTo>
                  <a:lnTo>
                    <a:pt x="18528" y="31903"/>
                  </a:lnTo>
                  <a:lnTo>
                    <a:pt x="18628" y="31705"/>
                  </a:lnTo>
                  <a:lnTo>
                    <a:pt x="18628" y="31210"/>
                  </a:lnTo>
                  <a:lnTo>
                    <a:pt x="18528" y="30516"/>
                  </a:lnTo>
                  <a:lnTo>
                    <a:pt x="18628" y="29724"/>
                  </a:lnTo>
                  <a:lnTo>
                    <a:pt x="18628" y="29129"/>
                  </a:lnTo>
                  <a:lnTo>
                    <a:pt x="18628" y="28535"/>
                  </a:lnTo>
                  <a:lnTo>
                    <a:pt x="18727" y="27346"/>
                  </a:lnTo>
                  <a:lnTo>
                    <a:pt x="18826" y="26157"/>
                  </a:lnTo>
                  <a:lnTo>
                    <a:pt x="18925" y="24373"/>
                  </a:lnTo>
                  <a:lnTo>
                    <a:pt x="18925" y="23779"/>
                  </a:lnTo>
                  <a:lnTo>
                    <a:pt x="19024" y="23482"/>
                  </a:lnTo>
                  <a:lnTo>
                    <a:pt x="19123" y="23185"/>
                  </a:lnTo>
                  <a:lnTo>
                    <a:pt x="19222" y="22986"/>
                  </a:lnTo>
                  <a:lnTo>
                    <a:pt x="19222" y="22887"/>
                  </a:lnTo>
                  <a:lnTo>
                    <a:pt x="19123" y="22590"/>
                  </a:lnTo>
                  <a:lnTo>
                    <a:pt x="19024" y="22293"/>
                  </a:lnTo>
                  <a:lnTo>
                    <a:pt x="19123" y="21797"/>
                  </a:lnTo>
                  <a:lnTo>
                    <a:pt x="19321" y="21302"/>
                  </a:lnTo>
                  <a:lnTo>
                    <a:pt x="19321" y="20708"/>
                  </a:lnTo>
                  <a:lnTo>
                    <a:pt x="19420" y="20113"/>
                  </a:lnTo>
                  <a:lnTo>
                    <a:pt x="19519" y="19717"/>
                  </a:lnTo>
                  <a:lnTo>
                    <a:pt x="19618" y="19320"/>
                  </a:lnTo>
                  <a:lnTo>
                    <a:pt x="19717" y="19023"/>
                  </a:lnTo>
                  <a:lnTo>
                    <a:pt x="19717" y="18330"/>
                  </a:lnTo>
                  <a:lnTo>
                    <a:pt x="20015" y="17339"/>
                  </a:lnTo>
                  <a:lnTo>
                    <a:pt x="20114" y="16844"/>
                  </a:lnTo>
                  <a:lnTo>
                    <a:pt x="20015" y="16348"/>
                  </a:lnTo>
                  <a:lnTo>
                    <a:pt x="20015" y="16051"/>
                  </a:lnTo>
                  <a:lnTo>
                    <a:pt x="20015" y="15754"/>
                  </a:lnTo>
                  <a:lnTo>
                    <a:pt x="20114" y="15456"/>
                  </a:lnTo>
                  <a:lnTo>
                    <a:pt x="20312" y="15159"/>
                  </a:lnTo>
                  <a:lnTo>
                    <a:pt x="20411" y="14961"/>
                  </a:lnTo>
                  <a:lnTo>
                    <a:pt x="20411" y="14763"/>
                  </a:lnTo>
                  <a:lnTo>
                    <a:pt x="20411" y="14466"/>
                  </a:lnTo>
                  <a:lnTo>
                    <a:pt x="20411" y="14069"/>
                  </a:lnTo>
                  <a:lnTo>
                    <a:pt x="20609" y="13772"/>
                  </a:lnTo>
                  <a:lnTo>
                    <a:pt x="20708" y="13574"/>
                  </a:lnTo>
                  <a:lnTo>
                    <a:pt x="20807" y="13178"/>
                  </a:lnTo>
                  <a:lnTo>
                    <a:pt x="20906" y="12484"/>
                  </a:lnTo>
                  <a:lnTo>
                    <a:pt x="21105" y="11890"/>
                  </a:lnTo>
                  <a:lnTo>
                    <a:pt x="21105" y="11691"/>
                  </a:lnTo>
                  <a:lnTo>
                    <a:pt x="21105" y="11592"/>
                  </a:lnTo>
                  <a:lnTo>
                    <a:pt x="21105" y="11394"/>
                  </a:lnTo>
                  <a:lnTo>
                    <a:pt x="21105" y="11196"/>
                  </a:lnTo>
                  <a:lnTo>
                    <a:pt x="21303" y="11097"/>
                  </a:lnTo>
                  <a:lnTo>
                    <a:pt x="21501" y="10998"/>
                  </a:lnTo>
                  <a:lnTo>
                    <a:pt x="21501" y="10899"/>
                  </a:lnTo>
                  <a:lnTo>
                    <a:pt x="21501" y="10701"/>
                  </a:lnTo>
                  <a:lnTo>
                    <a:pt x="21402" y="10403"/>
                  </a:lnTo>
                  <a:lnTo>
                    <a:pt x="21402" y="10106"/>
                  </a:lnTo>
                  <a:lnTo>
                    <a:pt x="21501" y="9512"/>
                  </a:lnTo>
                  <a:lnTo>
                    <a:pt x="21600" y="9215"/>
                  </a:lnTo>
                  <a:lnTo>
                    <a:pt x="21699" y="8917"/>
                  </a:lnTo>
                  <a:lnTo>
                    <a:pt x="21798" y="8719"/>
                  </a:lnTo>
                  <a:lnTo>
                    <a:pt x="21897" y="8521"/>
                  </a:lnTo>
                  <a:lnTo>
                    <a:pt x="21897" y="8224"/>
                  </a:lnTo>
                  <a:lnTo>
                    <a:pt x="21897" y="8026"/>
                  </a:lnTo>
                  <a:lnTo>
                    <a:pt x="21996" y="7629"/>
                  </a:lnTo>
                  <a:lnTo>
                    <a:pt x="22095" y="7134"/>
                  </a:lnTo>
                  <a:lnTo>
                    <a:pt x="22095" y="6738"/>
                  </a:lnTo>
                  <a:lnTo>
                    <a:pt x="22194" y="6341"/>
                  </a:lnTo>
                  <a:lnTo>
                    <a:pt x="22393" y="5945"/>
                  </a:lnTo>
                  <a:lnTo>
                    <a:pt x="22492" y="5549"/>
                  </a:lnTo>
                  <a:lnTo>
                    <a:pt x="22690" y="5152"/>
                  </a:lnTo>
                  <a:lnTo>
                    <a:pt x="22789" y="5053"/>
                  </a:lnTo>
                  <a:lnTo>
                    <a:pt x="22987" y="4855"/>
                  </a:lnTo>
                  <a:lnTo>
                    <a:pt x="23086" y="4855"/>
                  </a:lnTo>
                  <a:lnTo>
                    <a:pt x="23185" y="4756"/>
                  </a:lnTo>
                  <a:lnTo>
                    <a:pt x="23780" y="4756"/>
                  </a:lnTo>
                  <a:lnTo>
                    <a:pt x="24374" y="4459"/>
                  </a:lnTo>
                  <a:lnTo>
                    <a:pt x="24869" y="4261"/>
                  </a:lnTo>
                  <a:lnTo>
                    <a:pt x="25365" y="4162"/>
                  </a:lnTo>
                  <a:lnTo>
                    <a:pt x="25860" y="4162"/>
                  </a:lnTo>
                  <a:lnTo>
                    <a:pt x="26356" y="4261"/>
                  </a:lnTo>
                  <a:lnTo>
                    <a:pt x="28238" y="4261"/>
                  </a:lnTo>
                  <a:lnTo>
                    <a:pt x="28833" y="4360"/>
                  </a:lnTo>
                  <a:lnTo>
                    <a:pt x="29427" y="4360"/>
                  </a:lnTo>
                  <a:lnTo>
                    <a:pt x="29625" y="4162"/>
                  </a:lnTo>
                  <a:lnTo>
                    <a:pt x="30616" y="4162"/>
                  </a:lnTo>
                  <a:lnTo>
                    <a:pt x="31508" y="4062"/>
                  </a:lnTo>
                  <a:lnTo>
                    <a:pt x="32598" y="4062"/>
                  </a:lnTo>
                  <a:lnTo>
                    <a:pt x="33786" y="3963"/>
                  </a:lnTo>
                  <a:lnTo>
                    <a:pt x="34678" y="3864"/>
                  </a:lnTo>
                  <a:lnTo>
                    <a:pt x="35570" y="3864"/>
                  </a:lnTo>
                  <a:lnTo>
                    <a:pt x="37155" y="3666"/>
                  </a:lnTo>
                  <a:lnTo>
                    <a:pt x="38839" y="3666"/>
                  </a:lnTo>
                  <a:lnTo>
                    <a:pt x="41019" y="3567"/>
                  </a:lnTo>
                  <a:close/>
                  <a:moveTo>
                    <a:pt x="47558" y="50530"/>
                  </a:moveTo>
                  <a:lnTo>
                    <a:pt x="48054" y="50629"/>
                  </a:lnTo>
                  <a:lnTo>
                    <a:pt x="48252" y="50728"/>
                  </a:lnTo>
                  <a:lnTo>
                    <a:pt x="48351" y="51025"/>
                  </a:lnTo>
                  <a:lnTo>
                    <a:pt x="48153" y="51422"/>
                  </a:lnTo>
                  <a:lnTo>
                    <a:pt x="48054" y="51620"/>
                  </a:lnTo>
                  <a:lnTo>
                    <a:pt x="48054" y="51917"/>
                  </a:lnTo>
                  <a:lnTo>
                    <a:pt x="47955" y="52413"/>
                  </a:lnTo>
                  <a:lnTo>
                    <a:pt x="47856" y="52611"/>
                  </a:lnTo>
                  <a:lnTo>
                    <a:pt x="47756" y="52809"/>
                  </a:lnTo>
                  <a:lnTo>
                    <a:pt x="47558" y="52809"/>
                  </a:lnTo>
                  <a:lnTo>
                    <a:pt x="47360" y="52908"/>
                  </a:lnTo>
                  <a:lnTo>
                    <a:pt x="45478" y="52710"/>
                  </a:lnTo>
                  <a:lnTo>
                    <a:pt x="44487" y="52611"/>
                  </a:lnTo>
                  <a:lnTo>
                    <a:pt x="43595" y="52710"/>
                  </a:lnTo>
                  <a:lnTo>
                    <a:pt x="39533" y="52710"/>
                  </a:lnTo>
                  <a:lnTo>
                    <a:pt x="38641" y="52809"/>
                  </a:lnTo>
                  <a:lnTo>
                    <a:pt x="37750" y="52809"/>
                  </a:lnTo>
                  <a:lnTo>
                    <a:pt x="37452" y="52710"/>
                  </a:lnTo>
                  <a:lnTo>
                    <a:pt x="37353" y="52611"/>
                  </a:lnTo>
                  <a:lnTo>
                    <a:pt x="37353" y="52413"/>
                  </a:lnTo>
                  <a:lnTo>
                    <a:pt x="37155" y="51719"/>
                  </a:lnTo>
                  <a:lnTo>
                    <a:pt x="37056" y="51422"/>
                  </a:lnTo>
                  <a:lnTo>
                    <a:pt x="37056" y="51025"/>
                  </a:lnTo>
                  <a:lnTo>
                    <a:pt x="36957" y="50827"/>
                  </a:lnTo>
                  <a:lnTo>
                    <a:pt x="36759" y="50530"/>
                  </a:lnTo>
                  <a:lnTo>
                    <a:pt x="37551" y="50530"/>
                  </a:lnTo>
                  <a:lnTo>
                    <a:pt x="38245" y="50629"/>
                  </a:lnTo>
                  <a:lnTo>
                    <a:pt x="39038" y="50728"/>
                  </a:lnTo>
                  <a:lnTo>
                    <a:pt x="45577" y="50728"/>
                  </a:lnTo>
                  <a:lnTo>
                    <a:pt x="46568" y="50629"/>
                  </a:lnTo>
                  <a:lnTo>
                    <a:pt x="47558" y="50530"/>
                  </a:lnTo>
                  <a:close/>
                  <a:moveTo>
                    <a:pt x="38443" y="53205"/>
                  </a:moveTo>
                  <a:lnTo>
                    <a:pt x="40127" y="53403"/>
                  </a:lnTo>
                  <a:lnTo>
                    <a:pt x="41911" y="53502"/>
                  </a:lnTo>
                  <a:lnTo>
                    <a:pt x="42604" y="53601"/>
                  </a:lnTo>
                  <a:lnTo>
                    <a:pt x="43298" y="53502"/>
                  </a:lnTo>
                  <a:lnTo>
                    <a:pt x="44784" y="53502"/>
                  </a:lnTo>
                  <a:lnTo>
                    <a:pt x="46072" y="53403"/>
                  </a:lnTo>
                  <a:lnTo>
                    <a:pt x="47261" y="53304"/>
                  </a:lnTo>
                  <a:lnTo>
                    <a:pt x="47558" y="53403"/>
                  </a:lnTo>
                  <a:lnTo>
                    <a:pt x="47657" y="53403"/>
                  </a:lnTo>
                  <a:lnTo>
                    <a:pt x="47756" y="53601"/>
                  </a:lnTo>
                  <a:lnTo>
                    <a:pt x="47657" y="53899"/>
                  </a:lnTo>
                  <a:lnTo>
                    <a:pt x="47459" y="54889"/>
                  </a:lnTo>
                  <a:lnTo>
                    <a:pt x="47261" y="55880"/>
                  </a:lnTo>
                  <a:lnTo>
                    <a:pt x="47261" y="56078"/>
                  </a:lnTo>
                  <a:lnTo>
                    <a:pt x="47162" y="56177"/>
                  </a:lnTo>
                  <a:lnTo>
                    <a:pt x="47063" y="56277"/>
                  </a:lnTo>
                  <a:lnTo>
                    <a:pt x="46766" y="56277"/>
                  </a:lnTo>
                  <a:lnTo>
                    <a:pt x="43595" y="56376"/>
                  </a:lnTo>
                  <a:lnTo>
                    <a:pt x="39137" y="56277"/>
                  </a:lnTo>
                  <a:lnTo>
                    <a:pt x="38740" y="56277"/>
                  </a:lnTo>
                  <a:lnTo>
                    <a:pt x="38443" y="56376"/>
                  </a:lnTo>
                  <a:lnTo>
                    <a:pt x="38146" y="56376"/>
                  </a:lnTo>
                  <a:lnTo>
                    <a:pt x="38047" y="56078"/>
                  </a:lnTo>
                  <a:lnTo>
                    <a:pt x="37849" y="55286"/>
                  </a:lnTo>
                  <a:lnTo>
                    <a:pt x="37750" y="54790"/>
                  </a:lnTo>
                  <a:lnTo>
                    <a:pt x="37750" y="54394"/>
                  </a:lnTo>
                  <a:lnTo>
                    <a:pt x="37750" y="54196"/>
                  </a:lnTo>
                  <a:lnTo>
                    <a:pt x="37551" y="53998"/>
                  </a:lnTo>
                  <a:lnTo>
                    <a:pt x="37452" y="53701"/>
                  </a:lnTo>
                  <a:lnTo>
                    <a:pt x="37551" y="53403"/>
                  </a:lnTo>
                  <a:lnTo>
                    <a:pt x="37750" y="53304"/>
                  </a:lnTo>
                  <a:lnTo>
                    <a:pt x="38047" y="53205"/>
                  </a:lnTo>
                  <a:close/>
                  <a:moveTo>
                    <a:pt x="44586" y="57168"/>
                  </a:moveTo>
                  <a:lnTo>
                    <a:pt x="45180" y="57267"/>
                  </a:lnTo>
                  <a:lnTo>
                    <a:pt x="45379" y="57366"/>
                  </a:lnTo>
                  <a:lnTo>
                    <a:pt x="45478" y="57565"/>
                  </a:lnTo>
                  <a:lnTo>
                    <a:pt x="45478" y="57763"/>
                  </a:lnTo>
                  <a:lnTo>
                    <a:pt x="45478" y="57961"/>
                  </a:lnTo>
                  <a:lnTo>
                    <a:pt x="45379" y="58952"/>
                  </a:lnTo>
                  <a:lnTo>
                    <a:pt x="45379" y="59942"/>
                  </a:lnTo>
                  <a:lnTo>
                    <a:pt x="45379" y="60834"/>
                  </a:lnTo>
                  <a:lnTo>
                    <a:pt x="45379" y="61726"/>
                  </a:lnTo>
                  <a:lnTo>
                    <a:pt x="45379" y="62717"/>
                  </a:lnTo>
                  <a:lnTo>
                    <a:pt x="45478" y="63608"/>
                  </a:lnTo>
                  <a:lnTo>
                    <a:pt x="45478" y="64797"/>
                  </a:lnTo>
                  <a:lnTo>
                    <a:pt x="45478" y="66085"/>
                  </a:lnTo>
                  <a:lnTo>
                    <a:pt x="45577" y="68364"/>
                  </a:lnTo>
                  <a:lnTo>
                    <a:pt x="45676" y="69454"/>
                  </a:lnTo>
                  <a:lnTo>
                    <a:pt x="45775" y="70544"/>
                  </a:lnTo>
                  <a:lnTo>
                    <a:pt x="45874" y="72129"/>
                  </a:lnTo>
                  <a:lnTo>
                    <a:pt x="46171" y="73714"/>
                  </a:lnTo>
                  <a:lnTo>
                    <a:pt x="46468" y="74210"/>
                  </a:lnTo>
                  <a:lnTo>
                    <a:pt x="46865" y="74705"/>
                  </a:lnTo>
                  <a:lnTo>
                    <a:pt x="47756" y="75498"/>
                  </a:lnTo>
                  <a:lnTo>
                    <a:pt x="48153" y="75795"/>
                  </a:lnTo>
                  <a:lnTo>
                    <a:pt x="48648" y="75993"/>
                  </a:lnTo>
                  <a:lnTo>
                    <a:pt x="49044" y="76191"/>
                  </a:lnTo>
                  <a:lnTo>
                    <a:pt x="49441" y="76588"/>
                  </a:lnTo>
                  <a:lnTo>
                    <a:pt x="49540" y="76687"/>
                  </a:lnTo>
                  <a:lnTo>
                    <a:pt x="49837" y="76786"/>
                  </a:lnTo>
                  <a:lnTo>
                    <a:pt x="50332" y="76984"/>
                  </a:lnTo>
                  <a:lnTo>
                    <a:pt x="50531" y="76984"/>
                  </a:lnTo>
                  <a:lnTo>
                    <a:pt x="50630" y="77083"/>
                  </a:lnTo>
                  <a:lnTo>
                    <a:pt x="50828" y="77182"/>
                  </a:lnTo>
                  <a:lnTo>
                    <a:pt x="51026" y="77380"/>
                  </a:lnTo>
                  <a:lnTo>
                    <a:pt x="51323" y="77479"/>
                  </a:lnTo>
                  <a:lnTo>
                    <a:pt x="51521" y="77677"/>
                  </a:lnTo>
                  <a:lnTo>
                    <a:pt x="51819" y="77876"/>
                  </a:lnTo>
                  <a:lnTo>
                    <a:pt x="52215" y="78074"/>
                  </a:lnTo>
                  <a:lnTo>
                    <a:pt x="53107" y="78470"/>
                  </a:lnTo>
                  <a:lnTo>
                    <a:pt x="54692" y="79164"/>
                  </a:lnTo>
                  <a:lnTo>
                    <a:pt x="55286" y="79560"/>
                  </a:lnTo>
                  <a:lnTo>
                    <a:pt x="55584" y="79758"/>
                  </a:lnTo>
                  <a:lnTo>
                    <a:pt x="55980" y="79956"/>
                  </a:lnTo>
                  <a:lnTo>
                    <a:pt x="56673" y="80055"/>
                  </a:lnTo>
                  <a:lnTo>
                    <a:pt x="57070" y="80253"/>
                  </a:lnTo>
                  <a:lnTo>
                    <a:pt x="57268" y="80452"/>
                  </a:lnTo>
                  <a:lnTo>
                    <a:pt x="57664" y="81046"/>
                  </a:lnTo>
                  <a:lnTo>
                    <a:pt x="57862" y="81442"/>
                  </a:lnTo>
                  <a:lnTo>
                    <a:pt x="57862" y="81839"/>
                  </a:lnTo>
                  <a:lnTo>
                    <a:pt x="57862" y="81938"/>
                  </a:lnTo>
                  <a:lnTo>
                    <a:pt x="57862" y="82037"/>
                  </a:lnTo>
                  <a:lnTo>
                    <a:pt x="57664" y="82037"/>
                  </a:lnTo>
                  <a:lnTo>
                    <a:pt x="56773" y="81938"/>
                  </a:lnTo>
                  <a:lnTo>
                    <a:pt x="55584" y="81938"/>
                  </a:lnTo>
                  <a:lnTo>
                    <a:pt x="55385" y="81839"/>
                  </a:lnTo>
                  <a:lnTo>
                    <a:pt x="54593" y="81839"/>
                  </a:lnTo>
                  <a:lnTo>
                    <a:pt x="54097" y="81740"/>
                  </a:lnTo>
                  <a:lnTo>
                    <a:pt x="53899" y="81740"/>
                  </a:lnTo>
                  <a:lnTo>
                    <a:pt x="53899" y="81641"/>
                  </a:lnTo>
                  <a:lnTo>
                    <a:pt x="53800" y="81541"/>
                  </a:lnTo>
                  <a:lnTo>
                    <a:pt x="53800" y="81442"/>
                  </a:lnTo>
                  <a:lnTo>
                    <a:pt x="53701" y="81442"/>
                  </a:lnTo>
                  <a:lnTo>
                    <a:pt x="53404" y="81541"/>
                  </a:lnTo>
                  <a:lnTo>
                    <a:pt x="53206" y="81541"/>
                  </a:lnTo>
                  <a:lnTo>
                    <a:pt x="52908" y="81442"/>
                  </a:lnTo>
                  <a:lnTo>
                    <a:pt x="52611" y="81343"/>
                  </a:lnTo>
                  <a:lnTo>
                    <a:pt x="52116" y="81442"/>
                  </a:lnTo>
                  <a:lnTo>
                    <a:pt x="51720" y="81442"/>
                  </a:lnTo>
                  <a:lnTo>
                    <a:pt x="50729" y="81244"/>
                  </a:lnTo>
                  <a:lnTo>
                    <a:pt x="49837" y="81145"/>
                  </a:lnTo>
                  <a:lnTo>
                    <a:pt x="48846" y="81046"/>
                  </a:lnTo>
                  <a:lnTo>
                    <a:pt x="47955" y="81046"/>
                  </a:lnTo>
                  <a:lnTo>
                    <a:pt x="46964" y="80947"/>
                  </a:lnTo>
                  <a:lnTo>
                    <a:pt x="45676" y="80848"/>
                  </a:lnTo>
                  <a:lnTo>
                    <a:pt x="44487" y="80749"/>
                  </a:lnTo>
                  <a:lnTo>
                    <a:pt x="43793" y="80650"/>
                  </a:lnTo>
                  <a:lnTo>
                    <a:pt x="41118" y="80650"/>
                  </a:lnTo>
                  <a:lnTo>
                    <a:pt x="40425" y="80749"/>
                  </a:lnTo>
                  <a:lnTo>
                    <a:pt x="39929" y="80848"/>
                  </a:lnTo>
                  <a:lnTo>
                    <a:pt x="39731" y="80848"/>
                  </a:lnTo>
                  <a:lnTo>
                    <a:pt x="39434" y="80749"/>
                  </a:lnTo>
                  <a:lnTo>
                    <a:pt x="39236" y="80650"/>
                  </a:lnTo>
                  <a:lnTo>
                    <a:pt x="38939" y="80749"/>
                  </a:lnTo>
                  <a:lnTo>
                    <a:pt x="38443" y="80848"/>
                  </a:lnTo>
                  <a:lnTo>
                    <a:pt x="36759" y="80848"/>
                  </a:lnTo>
                  <a:lnTo>
                    <a:pt x="34975" y="81046"/>
                  </a:lnTo>
                  <a:lnTo>
                    <a:pt x="33390" y="81244"/>
                  </a:lnTo>
                  <a:lnTo>
                    <a:pt x="31805" y="81343"/>
                  </a:lnTo>
                  <a:lnTo>
                    <a:pt x="31310" y="81442"/>
                  </a:lnTo>
                  <a:lnTo>
                    <a:pt x="30913" y="81541"/>
                  </a:lnTo>
                  <a:lnTo>
                    <a:pt x="29328" y="81740"/>
                  </a:lnTo>
                  <a:lnTo>
                    <a:pt x="27743" y="81839"/>
                  </a:lnTo>
                  <a:lnTo>
                    <a:pt x="27545" y="81839"/>
                  </a:lnTo>
                  <a:lnTo>
                    <a:pt x="27445" y="81740"/>
                  </a:lnTo>
                  <a:lnTo>
                    <a:pt x="27545" y="81541"/>
                  </a:lnTo>
                  <a:lnTo>
                    <a:pt x="27644" y="81046"/>
                  </a:lnTo>
                  <a:lnTo>
                    <a:pt x="27743" y="80848"/>
                  </a:lnTo>
                  <a:lnTo>
                    <a:pt x="28040" y="80749"/>
                  </a:lnTo>
                  <a:lnTo>
                    <a:pt x="28139" y="80551"/>
                  </a:lnTo>
                  <a:lnTo>
                    <a:pt x="28139" y="80353"/>
                  </a:lnTo>
                  <a:lnTo>
                    <a:pt x="28238" y="80154"/>
                  </a:lnTo>
                  <a:lnTo>
                    <a:pt x="28634" y="80154"/>
                  </a:lnTo>
                  <a:lnTo>
                    <a:pt x="29229" y="80055"/>
                  </a:lnTo>
                  <a:lnTo>
                    <a:pt x="29724" y="79758"/>
                  </a:lnTo>
                  <a:lnTo>
                    <a:pt x="30022" y="79560"/>
                  </a:lnTo>
                  <a:lnTo>
                    <a:pt x="30517" y="79461"/>
                  </a:lnTo>
                  <a:lnTo>
                    <a:pt x="30715" y="79362"/>
                  </a:lnTo>
                  <a:lnTo>
                    <a:pt x="30913" y="79263"/>
                  </a:lnTo>
                  <a:lnTo>
                    <a:pt x="31111" y="78965"/>
                  </a:lnTo>
                  <a:lnTo>
                    <a:pt x="31409" y="78866"/>
                  </a:lnTo>
                  <a:lnTo>
                    <a:pt x="31706" y="78767"/>
                  </a:lnTo>
                  <a:lnTo>
                    <a:pt x="32003" y="78668"/>
                  </a:lnTo>
                  <a:lnTo>
                    <a:pt x="32201" y="78569"/>
                  </a:lnTo>
                  <a:lnTo>
                    <a:pt x="32300" y="78470"/>
                  </a:lnTo>
                  <a:lnTo>
                    <a:pt x="32399" y="78173"/>
                  </a:lnTo>
                  <a:lnTo>
                    <a:pt x="32697" y="78074"/>
                  </a:lnTo>
                  <a:lnTo>
                    <a:pt x="33192" y="78074"/>
                  </a:lnTo>
                  <a:lnTo>
                    <a:pt x="33390" y="77975"/>
                  </a:lnTo>
                  <a:lnTo>
                    <a:pt x="33687" y="77776"/>
                  </a:lnTo>
                  <a:lnTo>
                    <a:pt x="33786" y="77578"/>
                  </a:lnTo>
                  <a:lnTo>
                    <a:pt x="33985" y="77479"/>
                  </a:lnTo>
                  <a:lnTo>
                    <a:pt x="34480" y="77380"/>
                  </a:lnTo>
                  <a:lnTo>
                    <a:pt x="34876" y="77281"/>
                  </a:lnTo>
                  <a:lnTo>
                    <a:pt x="35074" y="76984"/>
                  </a:lnTo>
                  <a:lnTo>
                    <a:pt x="35273" y="76786"/>
                  </a:lnTo>
                  <a:lnTo>
                    <a:pt x="35372" y="76687"/>
                  </a:lnTo>
                  <a:lnTo>
                    <a:pt x="35570" y="76786"/>
                  </a:lnTo>
                  <a:lnTo>
                    <a:pt x="35867" y="76786"/>
                  </a:lnTo>
                  <a:lnTo>
                    <a:pt x="36065" y="76687"/>
                  </a:lnTo>
                  <a:lnTo>
                    <a:pt x="36263" y="76488"/>
                  </a:lnTo>
                  <a:lnTo>
                    <a:pt x="36561" y="76191"/>
                  </a:lnTo>
                  <a:lnTo>
                    <a:pt x="36957" y="75795"/>
                  </a:lnTo>
                  <a:lnTo>
                    <a:pt x="37849" y="75300"/>
                  </a:lnTo>
                  <a:lnTo>
                    <a:pt x="38344" y="74903"/>
                  </a:lnTo>
                  <a:lnTo>
                    <a:pt x="38839" y="74507"/>
                  </a:lnTo>
                  <a:lnTo>
                    <a:pt x="39038" y="73912"/>
                  </a:lnTo>
                  <a:lnTo>
                    <a:pt x="39236" y="73318"/>
                  </a:lnTo>
                  <a:lnTo>
                    <a:pt x="39335" y="72525"/>
                  </a:lnTo>
                  <a:lnTo>
                    <a:pt x="39434" y="71634"/>
                  </a:lnTo>
                  <a:lnTo>
                    <a:pt x="39533" y="70048"/>
                  </a:lnTo>
                  <a:lnTo>
                    <a:pt x="39632" y="69058"/>
                  </a:lnTo>
                  <a:lnTo>
                    <a:pt x="39731" y="68067"/>
                  </a:lnTo>
                  <a:lnTo>
                    <a:pt x="39731" y="66977"/>
                  </a:lnTo>
                  <a:lnTo>
                    <a:pt x="39830" y="65788"/>
                  </a:lnTo>
                  <a:lnTo>
                    <a:pt x="39731" y="64401"/>
                  </a:lnTo>
                  <a:lnTo>
                    <a:pt x="39830" y="63014"/>
                  </a:lnTo>
                  <a:lnTo>
                    <a:pt x="39929" y="61330"/>
                  </a:lnTo>
                  <a:lnTo>
                    <a:pt x="39830" y="59546"/>
                  </a:lnTo>
                  <a:lnTo>
                    <a:pt x="39830" y="57168"/>
                  </a:lnTo>
                  <a:lnTo>
                    <a:pt x="42902" y="57366"/>
                  </a:lnTo>
                  <a:lnTo>
                    <a:pt x="43496" y="57366"/>
                  </a:lnTo>
                  <a:lnTo>
                    <a:pt x="44091" y="57267"/>
                  </a:lnTo>
                  <a:lnTo>
                    <a:pt x="44586" y="57168"/>
                  </a:lnTo>
                  <a:close/>
                  <a:moveTo>
                    <a:pt x="39533" y="81641"/>
                  </a:moveTo>
                  <a:lnTo>
                    <a:pt x="40524" y="81740"/>
                  </a:lnTo>
                  <a:lnTo>
                    <a:pt x="41713" y="81740"/>
                  </a:lnTo>
                  <a:lnTo>
                    <a:pt x="42902" y="81839"/>
                  </a:lnTo>
                  <a:lnTo>
                    <a:pt x="44982" y="81839"/>
                  </a:lnTo>
                  <a:lnTo>
                    <a:pt x="47162" y="82037"/>
                  </a:lnTo>
                  <a:lnTo>
                    <a:pt x="47955" y="82037"/>
                  </a:lnTo>
                  <a:lnTo>
                    <a:pt x="48648" y="82136"/>
                  </a:lnTo>
                  <a:lnTo>
                    <a:pt x="49243" y="82136"/>
                  </a:lnTo>
                  <a:lnTo>
                    <a:pt x="49837" y="82235"/>
                  </a:lnTo>
                  <a:lnTo>
                    <a:pt x="50531" y="82334"/>
                  </a:lnTo>
                  <a:lnTo>
                    <a:pt x="51521" y="82433"/>
                  </a:lnTo>
                  <a:lnTo>
                    <a:pt x="52710" y="82532"/>
                  </a:lnTo>
                  <a:lnTo>
                    <a:pt x="53701" y="82730"/>
                  </a:lnTo>
                  <a:lnTo>
                    <a:pt x="54791" y="82829"/>
                  </a:lnTo>
                  <a:lnTo>
                    <a:pt x="55881" y="82929"/>
                  </a:lnTo>
                  <a:lnTo>
                    <a:pt x="57070" y="83127"/>
                  </a:lnTo>
                  <a:lnTo>
                    <a:pt x="58061" y="83325"/>
                  </a:lnTo>
                  <a:lnTo>
                    <a:pt x="59051" y="83523"/>
                  </a:lnTo>
                  <a:lnTo>
                    <a:pt x="61033" y="83919"/>
                  </a:lnTo>
                  <a:lnTo>
                    <a:pt x="61231" y="84018"/>
                  </a:lnTo>
                  <a:lnTo>
                    <a:pt x="61429" y="84117"/>
                  </a:lnTo>
                  <a:lnTo>
                    <a:pt x="61627" y="84316"/>
                  </a:lnTo>
                  <a:lnTo>
                    <a:pt x="61627" y="84514"/>
                  </a:lnTo>
                  <a:lnTo>
                    <a:pt x="61726" y="85406"/>
                  </a:lnTo>
                  <a:lnTo>
                    <a:pt x="61825" y="86297"/>
                  </a:lnTo>
                  <a:lnTo>
                    <a:pt x="61925" y="87189"/>
                  </a:lnTo>
                  <a:lnTo>
                    <a:pt x="62024" y="88081"/>
                  </a:lnTo>
                  <a:lnTo>
                    <a:pt x="62123" y="88279"/>
                  </a:lnTo>
                  <a:lnTo>
                    <a:pt x="62024" y="88378"/>
                  </a:lnTo>
                  <a:lnTo>
                    <a:pt x="61925" y="88378"/>
                  </a:lnTo>
                  <a:lnTo>
                    <a:pt x="61231" y="88279"/>
                  </a:lnTo>
                  <a:lnTo>
                    <a:pt x="60637" y="88180"/>
                  </a:lnTo>
                  <a:lnTo>
                    <a:pt x="60042" y="88081"/>
                  </a:lnTo>
                  <a:lnTo>
                    <a:pt x="59448" y="87982"/>
                  </a:lnTo>
                  <a:lnTo>
                    <a:pt x="58259" y="87882"/>
                  </a:lnTo>
                  <a:lnTo>
                    <a:pt x="56079" y="87684"/>
                  </a:lnTo>
                  <a:lnTo>
                    <a:pt x="54989" y="87486"/>
                  </a:lnTo>
                  <a:lnTo>
                    <a:pt x="53899" y="87387"/>
                  </a:lnTo>
                  <a:lnTo>
                    <a:pt x="52413" y="87288"/>
                  </a:lnTo>
                  <a:lnTo>
                    <a:pt x="50828" y="87189"/>
                  </a:lnTo>
                  <a:lnTo>
                    <a:pt x="48351" y="86991"/>
                  </a:lnTo>
                  <a:lnTo>
                    <a:pt x="45874" y="86892"/>
                  </a:lnTo>
                  <a:lnTo>
                    <a:pt x="41812" y="86892"/>
                  </a:lnTo>
                  <a:lnTo>
                    <a:pt x="40227" y="86991"/>
                  </a:lnTo>
                  <a:lnTo>
                    <a:pt x="38740" y="86991"/>
                  </a:lnTo>
                  <a:lnTo>
                    <a:pt x="35174" y="87288"/>
                  </a:lnTo>
                  <a:lnTo>
                    <a:pt x="34084" y="87387"/>
                  </a:lnTo>
                  <a:lnTo>
                    <a:pt x="33093" y="87486"/>
                  </a:lnTo>
                  <a:lnTo>
                    <a:pt x="32003" y="87585"/>
                  </a:lnTo>
                  <a:lnTo>
                    <a:pt x="31012" y="87684"/>
                  </a:lnTo>
                  <a:lnTo>
                    <a:pt x="30022" y="87783"/>
                  </a:lnTo>
                  <a:lnTo>
                    <a:pt x="29031" y="87982"/>
                  </a:lnTo>
                  <a:lnTo>
                    <a:pt x="27247" y="88081"/>
                  </a:lnTo>
                  <a:lnTo>
                    <a:pt x="26058" y="88180"/>
                  </a:lnTo>
                  <a:lnTo>
                    <a:pt x="24869" y="88279"/>
                  </a:lnTo>
                  <a:lnTo>
                    <a:pt x="24473" y="88279"/>
                  </a:lnTo>
                  <a:lnTo>
                    <a:pt x="24176" y="88378"/>
                  </a:lnTo>
                  <a:lnTo>
                    <a:pt x="23681" y="88576"/>
                  </a:lnTo>
                  <a:lnTo>
                    <a:pt x="23284" y="88675"/>
                  </a:lnTo>
                  <a:lnTo>
                    <a:pt x="23284" y="88477"/>
                  </a:lnTo>
                  <a:lnTo>
                    <a:pt x="23185" y="88279"/>
                  </a:lnTo>
                  <a:lnTo>
                    <a:pt x="23185" y="87982"/>
                  </a:lnTo>
                  <a:lnTo>
                    <a:pt x="23185" y="87684"/>
                  </a:lnTo>
                  <a:lnTo>
                    <a:pt x="23482" y="85108"/>
                  </a:lnTo>
                  <a:lnTo>
                    <a:pt x="23581" y="84613"/>
                  </a:lnTo>
                  <a:lnTo>
                    <a:pt x="23681" y="84217"/>
                  </a:lnTo>
                  <a:lnTo>
                    <a:pt x="23978" y="83919"/>
                  </a:lnTo>
                  <a:lnTo>
                    <a:pt x="24374" y="83721"/>
                  </a:lnTo>
                  <a:lnTo>
                    <a:pt x="26356" y="83226"/>
                  </a:lnTo>
                  <a:lnTo>
                    <a:pt x="27545" y="82929"/>
                  </a:lnTo>
                  <a:lnTo>
                    <a:pt x="28833" y="82730"/>
                  </a:lnTo>
                  <a:lnTo>
                    <a:pt x="31310" y="82334"/>
                  </a:lnTo>
                  <a:lnTo>
                    <a:pt x="33985" y="82037"/>
                  </a:lnTo>
                  <a:lnTo>
                    <a:pt x="36759" y="81839"/>
                  </a:lnTo>
                  <a:lnTo>
                    <a:pt x="37651" y="81740"/>
                  </a:lnTo>
                  <a:lnTo>
                    <a:pt x="38542" y="81740"/>
                  </a:lnTo>
                  <a:lnTo>
                    <a:pt x="39533" y="81641"/>
                  </a:lnTo>
                  <a:close/>
                  <a:moveTo>
                    <a:pt x="46865" y="88081"/>
                  </a:moveTo>
                  <a:lnTo>
                    <a:pt x="48153" y="88180"/>
                  </a:lnTo>
                  <a:lnTo>
                    <a:pt x="49540" y="88180"/>
                  </a:lnTo>
                  <a:lnTo>
                    <a:pt x="50729" y="88279"/>
                  </a:lnTo>
                  <a:lnTo>
                    <a:pt x="52017" y="88378"/>
                  </a:lnTo>
                  <a:lnTo>
                    <a:pt x="53008" y="88477"/>
                  </a:lnTo>
                  <a:lnTo>
                    <a:pt x="53602" y="88477"/>
                  </a:lnTo>
                  <a:lnTo>
                    <a:pt x="54097" y="88378"/>
                  </a:lnTo>
                  <a:lnTo>
                    <a:pt x="54692" y="88378"/>
                  </a:lnTo>
                  <a:lnTo>
                    <a:pt x="55187" y="88477"/>
                  </a:lnTo>
                  <a:lnTo>
                    <a:pt x="56277" y="88675"/>
                  </a:lnTo>
                  <a:lnTo>
                    <a:pt x="56475" y="88675"/>
                  </a:lnTo>
                  <a:lnTo>
                    <a:pt x="56574" y="88576"/>
                  </a:lnTo>
                  <a:lnTo>
                    <a:pt x="56773" y="88477"/>
                  </a:lnTo>
                  <a:lnTo>
                    <a:pt x="56872" y="88477"/>
                  </a:lnTo>
                  <a:lnTo>
                    <a:pt x="56872" y="88675"/>
                  </a:lnTo>
                  <a:lnTo>
                    <a:pt x="56872" y="88774"/>
                  </a:lnTo>
                  <a:lnTo>
                    <a:pt x="56971" y="88774"/>
                  </a:lnTo>
                  <a:lnTo>
                    <a:pt x="57367" y="88873"/>
                  </a:lnTo>
                  <a:lnTo>
                    <a:pt x="57565" y="88873"/>
                  </a:lnTo>
                  <a:lnTo>
                    <a:pt x="57763" y="88774"/>
                  </a:lnTo>
                  <a:lnTo>
                    <a:pt x="57961" y="88675"/>
                  </a:lnTo>
                  <a:lnTo>
                    <a:pt x="58061" y="88675"/>
                  </a:lnTo>
                  <a:lnTo>
                    <a:pt x="58160" y="88774"/>
                  </a:lnTo>
                  <a:lnTo>
                    <a:pt x="58457" y="88972"/>
                  </a:lnTo>
                  <a:lnTo>
                    <a:pt x="58655" y="88972"/>
                  </a:lnTo>
                  <a:lnTo>
                    <a:pt x="59150" y="88774"/>
                  </a:lnTo>
                  <a:lnTo>
                    <a:pt x="59349" y="88774"/>
                  </a:lnTo>
                  <a:lnTo>
                    <a:pt x="59349" y="88873"/>
                  </a:lnTo>
                  <a:lnTo>
                    <a:pt x="59349" y="88972"/>
                  </a:lnTo>
                  <a:lnTo>
                    <a:pt x="59646" y="89071"/>
                  </a:lnTo>
                  <a:lnTo>
                    <a:pt x="59844" y="89071"/>
                  </a:lnTo>
                  <a:lnTo>
                    <a:pt x="60042" y="88972"/>
                  </a:lnTo>
                  <a:lnTo>
                    <a:pt x="60141" y="88873"/>
                  </a:lnTo>
                  <a:lnTo>
                    <a:pt x="60339" y="89071"/>
                  </a:lnTo>
                  <a:lnTo>
                    <a:pt x="60438" y="89170"/>
                  </a:lnTo>
                  <a:lnTo>
                    <a:pt x="60736" y="89071"/>
                  </a:lnTo>
                  <a:lnTo>
                    <a:pt x="60934" y="89170"/>
                  </a:lnTo>
                  <a:lnTo>
                    <a:pt x="61231" y="89270"/>
                  </a:lnTo>
                  <a:lnTo>
                    <a:pt x="61429" y="89270"/>
                  </a:lnTo>
                  <a:lnTo>
                    <a:pt x="61825" y="89170"/>
                  </a:lnTo>
                  <a:lnTo>
                    <a:pt x="62024" y="89170"/>
                  </a:lnTo>
                  <a:lnTo>
                    <a:pt x="62222" y="89270"/>
                  </a:lnTo>
                  <a:lnTo>
                    <a:pt x="62519" y="89468"/>
                  </a:lnTo>
                  <a:lnTo>
                    <a:pt x="63510" y="89468"/>
                  </a:lnTo>
                  <a:lnTo>
                    <a:pt x="64203" y="89567"/>
                  </a:lnTo>
                  <a:lnTo>
                    <a:pt x="64798" y="89765"/>
                  </a:lnTo>
                  <a:lnTo>
                    <a:pt x="65491" y="89864"/>
                  </a:lnTo>
                  <a:lnTo>
                    <a:pt x="66284" y="89864"/>
                  </a:lnTo>
                  <a:lnTo>
                    <a:pt x="66482" y="89963"/>
                  </a:lnTo>
                  <a:lnTo>
                    <a:pt x="66581" y="90062"/>
                  </a:lnTo>
                  <a:lnTo>
                    <a:pt x="66779" y="90062"/>
                  </a:lnTo>
                  <a:lnTo>
                    <a:pt x="67671" y="90161"/>
                  </a:lnTo>
                  <a:lnTo>
                    <a:pt x="68464" y="90260"/>
                  </a:lnTo>
                  <a:lnTo>
                    <a:pt x="68761" y="90359"/>
                  </a:lnTo>
                  <a:lnTo>
                    <a:pt x="68860" y="90458"/>
                  </a:lnTo>
                  <a:lnTo>
                    <a:pt x="68761" y="90657"/>
                  </a:lnTo>
                  <a:lnTo>
                    <a:pt x="68563" y="91053"/>
                  </a:lnTo>
                  <a:lnTo>
                    <a:pt x="68563" y="91548"/>
                  </a:lnTo>
                  <a:lnTo>
                    <a:pt x="68563" y="92539"/>
                  </a:lnTo>
                  <a:lnTo>
                    <a:pt x="68563" y="93629"/>
                  </a:lnTo>
                  <a:lnTo>
                    <a:pt x="68464" y="94719"/>
                  </a:lnTo>
                  <a:lnTo>
                    <a:pt x="68464" y="96205"/>
                  </a:lnTo>
                  <a:lnTo>
                    <a:pt x="68464" y="97691"/>
                  </a:lnTo>
                  <a:lnTo>
                    <a:pt x="68464" y="100267"/>
                  </a:lnTo>
                  <a:lnTo>
                    <a:pt x="68563" y="101456"/>
                  </a:lnTo>
                  <a:lnTo>
                    <a:pt x="68563" y="101952"/>
                  </a:lnTo>
                  <a:lnTo>
                    <a:pt x="68563" y="102546"/>
                  </a:lnTo>
                  <a:lnTo>
                    <a:pt x="68464" y="103240"/>
                  </a:lnTo>
                  <a:lnTo>
                    <a:pt x="68563" y="103933"/>
                  </a:lnTo>
                  <a:lnTo>
                    <a:pt x="68563" y="104726"/>
                  </a:lnTo>
                  <a:lnTo>
                    <a:pt x="68563" y="105518"/>
                  </a:lnTo>
                  <a:lnTo>
                    <a:pt x="68563" y="106311"/>
                  </a:lnTo>
                  <a:lnTo>
                    <a:pt x="68563" y="107104"/>
                  </a:lnTo>
                  <a:lnTo>
                    <a:pt x="68563" y="109382"/>
                  </a:lnTo>
                  <a:lnTo>
                    <a:pt x="68563" y="111958"/>
                  </a:lnTo>
                  <a:lnTo>
                    <a:pt x="68563" y="113246"/>
                  </a:lnTo>
                  <a:lnTo>
                    <a:pt x="68563" y="114435"/>
                  </a:lnTo>
                  <a:lnTo>
                    <a:pt x="68563" y="114733"/>
                  </a:lnTo>
                  <a:lnTo>
                    <a:pt x="68464" y="114832"/>
                  </a:lnTo>
                  <a:lnTo>
                    <a:pt x="68266" y="114832"/>
                  </a:lnTo>
                  <a:lnTo>
                    <a:pt x="66878" y="114733"/>
                  </a:lnTo>
                  <a:lnTo>
                    <a:pt x="65392" y="114634"/>
                  </a:lnTo>
                  <a:lnTo>
                    <a:pt x="63411" y="114435"/>
                  </a:lnTo>
                  <a:lnTo>
                    <a:pt x="61330" y="114435"/>
                  </a:lnTo>
                  <a:lnTo>
                    <a:pt x="60339" y="114336"/>
                  </a:lnTo>
                  <a:lnTo>
                    <a:pt x="59448" y="114237"/>
                  </a:lnTo>
                  <a:lnTo>
                    <a:pt x="58259" y="114138"/>
                  </a:lnTo>
                  <a:lnTo>
                    <a:pt x="56971" y="114237"/>
                  </a:lnTo>
                  <a:lnTo>
                    <a:pt x="55187" y="114237"/>
                  </a:lnTo>
                  <a:lnTo>
                    <a:pt x="54196" y="114138"/>
                  </a:lnTo>
                  <a:lnTo>
                    <a:pt x="51224" y="114138"/>
                  </a:lnTo>
                  <a:lnTo>
                    <a:pt x="49441" y="114039"/>
                  </a:lnTo>
                  <a:lnTo>
                    <a:pt x="32300" y="114039"/>
                  </a:lnTo>
                  <a:lnTo>
                    <a:pt x="30418" y="114138"/>
                  </a:lnTo>
                  <a:lnTo>
                    <a:pt x="28436" y="114237"/>
                  </a:lnTo>
                  <a:lnTo>
                    <a:pt x="24374" y="114237"/>
                  </a:lnTo>
                  <a:lnTo>
                    <a:pt x="22393" y="114336"/>
                  </a:lnTo>
                  <a:lnTo>
                    <a:pt x="20312" y="114435"/>
                  </a:lnTo>
                  <a:lnTo>
                    <a:pt x="19222" y="114435"/>
                  </a:lnTo>
                  <a:lnTo>
                    <a:pt x="18925" y="114534"/>
                  </a:lnTo>
                  <a:lnTo>
                    <a:pt x="18528" y="114634"/>
                  </a:lnTo>
                  <a:lnTo>
                    <a:pt x="18231" y="114634"/>
                  </a:lnTo>
                  <a:lnTo>
                    <a:pt x="17439" y="114733"/>
                  </a:lnTo>
                  <a:lnTo>
                    <a:pt x="17141" y="114634"/>
                  </a:lnTo>
                  <a:lnTo>
                    <a:pt x="16943" y="114634"/>
                  </a:lnTo>
                  <a:lnTo>
                    <a:pt x="16745" y="114733"/>
                  </a:lnTo>
                  <a:lnTo>
                    <a:pt x="16745" y="114733"/>
                  </a:lnTo>
                  <a:lnTo>
                    <a:pt x="16844" y="113742"/>
                  </a:lnTo>
                  <a:lnTo>
                    <a:pt x="16844" y="113147"/>
                  </a:lnTo>
                  <a:lnTo>
                    <a:pt x="16646" y="112652"/>
                  </a:lnTo>
                  <a:lnTo>
                    <a:pt x="16646" y="112454"/>
                  </a:lnTo>
                  <a:lnTo>
                    <a:pt x="16646" y="112157"/>
                  </a:lnTo>
                  <a:lnTo>
                    <a:pt x="16745" y="111562"/>
                  </a:lnTo>
                  <a:lnTo>
                    <a:pt x="16844" y="110968"/>
                  </a:lnTo>
                  <a:lnTo>
                    <a:pt x="16745" y="110373"/>
                  </a:lnTo>
                  <a:lnTo>
                    <a:pt x="16844" y="109779"/>
                  </a:lnTo>
                  <a:lnTo>
                    <a:pt x="16844" y="109581"/>
                  </a:lnTo>
                  <a:lnTo>
                    <a:pt x="16745" y="109283"/>
                  </a:lnTo>
                  <a:lnTo>
                    <a:pt x="16646" y="109085"/>
                  </a:lnTo>
                  <a:lnTo>
                    <a:pt x="16745" y="108887"/>
                  </a:lnTo>
                  <a:lnTo>
                    <a:pt x="16844" y="108491"/>
                  </a:lnTo>
                  <a:lnTo>
                    <a:pt x="16844" y="108193"/>
                  </a:lnTo>
                  <a:lnTo>
                    <a:pt x="16844" y="107401"/>
                  </a:lnTo>
                  <a:lnTo>
                    <a:pt x="16943" y="106806"/>
                  </a:lnTo>
                  <a:lnTo>
                    <a:pt x="16844" y="106212"/>
                  </a:lnTo>
                  <a:lnTo>
                    <a:pt x="16844" y="105419"/>
                  </a:lnTo>
                  <a:lnTo>
                    <a:pt x="16844" y="104726"/>
                  </a:lnTo>
                  <a:lnTo>
                    <a:pt x="16844" y="103735"/>
                  </a:lnTo>
                  <a:lnTo>
                    <a:pt x="16844" y="102744"/>
                  </a:lnTo>
                  <a:lnTo>
                    <a:pt x="16844" y="102249"/>
                  </a:lnTo>
                  <a:lnTo>
                    <a:pt x="16844" y="101654"/>
                  </a:lnTo>
                  <a:lnTo>
                    <a:pt x="16943" y="101159"/>
                  </a:lnTo>
                  <a:lnTo>
                    <a:pt x="16943" y="100664"/>
                  </a:lnTo>
                  <a:lnTo>
                    <a:pt x="16844" y="100168"/>
                  </a:lnTo>
                  <a:lnTo>
                    <a:pt x="16844" y="99772"/>
                  </a:lnTo>
                  <a:lnTo>
                    <a:pt x="16943" y="99276"/>
                  </a:lnTo>
                  <a:lnTo>
                    <a:pt x="16844" y="98880"/>
                  </a:lnTo>
                  <a:lnTo>
                    <a:pt x="16844" y="98583"/>
                  </a:lnTo>
                  <a:lnTo>
                    <a:pt x="16943" y="98385"/>
                  </a:lnTo>
                  <a:lnTo>
                    <a:pt x="16943" y="98187"/>
                  </a:lnTo>
                  <a:lnTo>
                    <a:pt x="16844" y="97988"/>
                  </a:lnTo>
                  <a:lnTo>
                    <a:pt x="16943" y="97889"/>
                  </a:lnTo>
                  <a:lnTo>
                    <a:pt x="16943" y="97790"/>
                  </a:lnTo>
                  <a:lnTo>
                    <a:pt x="16943" y="97493"/>
                  </a:lnTo>
                  <a:lnTo>
                    <a:pt x="16844" y="97295"/>
                  </a:lnTo>
                  <a:lnTo>
                    <a:pt x="16844" y="97196"/>
                  </a:lnTo>
                  <a:lnTo>
                    <a:pt x="16844" y="96998"/>
                  </a:lnTo>
                  <a:lnTo>
                    <a:pt x="16943" y="96700"/>
                  </a:lnTo>
                  <a:lnTo>
                    <a:pt x="16943" y="96403"/>
                  </a:lnTo>
                  <a:lnTo>
                    <a:pt x="16844" y="95809"/>
                  </a:lnTo>
                  <a:lnTo>
                    <a:pt x="16943" y="95313"/>
                  </a:lnTo>
                  <a:lnTo>
                    <a:pt x="16943" y="95016"/>
                  </a:lnTo>
                  <a:lnTo>
                    <a:pt x="16745" y="94818"/>
                  </a:lnTo>
                  <a:lnTo>
                    <a:pt x="16745" y="94719"/>
                  </a:lnTo>
                  <a:lnTo>
                    <a:pt x="16844" y="94025"/>
                  </a:lnTo>
                  <a:lnTo>
                    <a:pt x="16844" y="93431"/>
                  </a:lnTo>
                  <a:lnTo>
                    <a:pt x="16646" y="92143"/>
                  </a:lnTo>
                  <a:lnTo>
                    <a:pt x="16646" y="91350"/>
                  </a:lnTo>
                  <a:lnTo>
                    <a:pt x="16646" y="91053"/>
                  </a:lnTo>
                  <a:lnTo>
                    <a:pt x="16646" y="90657"/>
                  </a:lnTo>
                  <a:lnTo>
                    <a:pt x="16646" y="90458"/>
                  </a:lnTo>
                  <a:lnTo>
                    <a:pt x="16844" y="90359"/>
                  </a:lnTo>
                  <a:lnTo>
                    <a:pt x="17736" y="90359"/>
                  </a:lnTo>
                  <a:lnTo>
                    <a:pt x="18628" y="90161"/>
                  </a:lnTo>
                  <a:lnTo>
                    <a:pt x="20411" y="89765"/>
                  </a:lnTo>
                  <a:lnTo>
                    <a:pt x="21600" y="89666"/>
                  </a:lnTo>
                  <a:lnTo>
                    <a:pt x="22789" y="89468"/>
                  </a:lnTo>
                  <a:lnTo>
                    <a:pt x="22987" y="89468"/>
                  </a:lnTo>
                  <a:lnTo>
                    <a:pt x="23482" y="89369"/>
                  </a:lnTo>
                  <a:lnTo>
                    <a:pt x="24077" y="89270"/>
                  </a:lnTo>
                  <a:lnTo>
                    <a:pt x="24770" y="89170"/>
                  </a:lnTo>
                  <a:lnTo>
                    <a:pt x="26058" y="89071"/>
                  </a:lnTo>
                  <a:lnTo>
                    <a:pt x="26752" y="89071"/>
                  </a:lnTo>
                  <a:lnTo>
                    <a:pt x="27445" y="88972"/>
                  </a:lnTo>
                  <a:lnTo>
                    <a:pt x="28139" y="88873"/>
                  </a:lnTo>
                  <a:lnTo>
                    <a:pt x="28734" y="88873"/>
                  </a:lnTo>
                  <a:lnTo>
                    <a:pt x="29328" y="88774"/>
                  </a:lnTo>
                  <a:lnTo>
                    <a:pt x="29922" y="88675"/>
                  </a:lnTo>
                  <a:lnTo>
                    <a:pt x="30616" y="88576"/>
                  </a:lnTo>
                  <a:lnTo>
                    <a:pt x="32598" y="88576"/>
                  </a:lnTo>
                  <a:lnTo>
                    <a:pt x="33886" y="88477"/>
                  </a:lnTo>
                  <a:lnTo>
                    <a:pt x="35174" y="88378"/>
                  </a:lnTo>
                  <a:lnTo>
                    <a:pt x="36164" y="88378"/>
                  </a:lnTo>
                  <a:lnTo>
                    <a:pt x="36759" y="88279"/>
                  </a:lnTo>
                  <a:lnTo>
                    <a:pt x="37254" y="88180"/>
                  </a:lnTo>
                  <a:lnTo>
                    <a:pt x="37849" y="88081"/>
                  </a:lnTo>
                  <a:lnTo>
                    <a:pt x="38344" y="88081"/>
                  </a:lnTo>
                  <a:lnTo>
                    <a:pt x="39533" y="88180"/>
                  </a:lnTo>
                  <a:lnTo>
                    <a:pt x="41118" y="88081"/>
                  </a:lnTo>
                  <a:close/>
                  <a:moveTo>
                    <a:pt x="2082" y="0"/>
                  </a:moveTo>
                  <a:lnTo>
                    <a:pt x="1685" y="99"/>
                  </a:lnTo>
                  <a:lnTo>
                    <a:pt x="1091" y="397"/>
                  </a:lnTo>
                  <a:lnTo>
                    <a:pt x="794" y="595"/>
                  </a:lnTo>
                  <a:lnTo>
                    <a:pt x="595" y="991"/>
                  </a:lnTo>
                  <a:lnTo>
                    <a:pt x="397" y="1685"/>
                  </a:lnTo>
                  <a:lnTo>
                    <a:pt x="298" y="2378"/>
                  </a:lnTo>
                  <a:lnTo>
                    <a:pt x="100" y="4360"/>
                  </a:lnTo>
                  <a:lnTo>
                    <a:pt x="1" y="6242"/>
                  </a:lnTo>
                  <a:lnTo>
                    <a:pt x="1" y="7035"/>
                  </a:lnTo>
                  <a:lnTo>
                    <a:pt x="100" y="7926"/>
                  </a:lnTo>
                  <a:lnTo>
                    <a:pt x="298" y="9512"/>
                  </a:lnTo>
                  <a:lnTo>
                    <a:pt x="496" y="10998"/>
                  </a:lnTo>
                  <a:lnTo>
                    <a:pt x="893" y="12583"/>
                  </a:lnTo>
                  <a:lnTo>
                    <a:pt x="1091" y="13475"/>
                  </a:lnTo>
                  <a:lnTo>
                    <a:pt x="1487" y="14267"/>
                  </a:lnTo>
                  <a:lnTo>
                    <a:pt x="2082" y="16051"/>
                  </a:lnTo>
                  <a:lnTo>
                    <a:pt x="2478" y="17042"/>
                  </a:lnTo>
                  <a:lnTo>
                    <a:pt x="2874" y="18032"/>
                  </a:lnTo>
                  <a:lnTo>
                    <a:pt x="2973" y="18528"/>
                  </a:lnTo>
                  <a:lnTo>
                    <a:pt x="3072" y="18825"/>
                  </a:lnTo>
                  <a:lnTo>
                    <a:pt x="3271" y="19122"/>
                  </a:lnTo>
                  <a:lnTo>
                    <a:pt x="3568" y="19717"/>
                  </a:lnTo>
                  <a:lnTo>
                    <a:pt x="3865" y="20311"/>
                  </a:lnTo>
                  <a:lnTo>
                    <a:pt x="4459" y="21500"/>
                  </a:lnTo>
                  <a:lnTo>
                    <a:pt x="5153" y="22887"/>
                  </a:lnTo>
                  <a:lnTo>
                    <a:pt x="5847" y="24175"/>
                  </a:lnTo>
                  <a:lnTo>
                    <a:pt x="6639" y="25364"/>
                  </a:lnTo>
                  <a:lnTo>
                    <a:pt x="7531" y="26553"/>
                  </a:lnTo>
                  <a:lnTo>
                    <a:pt x="8323" y="27643"/>
                  </a:lnTo>
                  <a:lnTo>
                    <a:pt x="9215" y="28733"/>
                  </a:lnTo>
                  <a:lnTo>
                    <a:pt x="9711" y="29228"/>
                  </a:lnTo>
                  <a:lnTo>
                    <a:pt x="10107" y="29823"/>
                  </a:lnTo>
                  <a:lnTo>
                    <a:pt x="10602" y="30417"/>
                  </a:lnTo>
                  <a:lnTo>
                    <a:pt x="11098" y="30913"/>
                  </a:lnTo>
                  <a:lnTo>
                    <a:pt x="11593" y="31309"/>
                  </a:lnTo>
                  <a:lnTo>
                    <a:pt x="11989" y="31705"/>
                  </a:lnTo>
                  <a:lnTo>
                    <a:pt x="12386" y="32102"/>
                  </a:lnTo>
                  <a:lnTo>
                    <a:pt x="12782" y="32399"/>
                  </a:lnTo>
                  <a:lnTo>
                    <a:pt x="13277" y="32795"/>
                  </a:lnTo>
                  <a:lnTo>
                    <a:pt x="13773" y="33290"/>
                  </a:lnTo>
                  <a:lnTo>
                    <a:pt x="14169" y="33687"/>
                  </a:lnTo>
                  <a:lnTo>
                    <a:pt x="14664" y="34182"/>
                  </a:lnTo>
                  <a:lnTo>
                    <a:pt x="16052" y="35272"/>
                  </a:lnTo>
                  <a:lnTo>
                    <a:pt x="16745" y="35767"/>
                  </a:lnTo>
                  <a:lnTo>
                    <a:pt x="17439" y="36164"/>
                  </a:lnTo>
                  <a:lnTo>
                    <a:pt x="17637" y="36362"/>
                  </a:lnTo>
                  <a:lnTo>
                    <a:pt x="17736" y="36659"/>
                  </a:lnTo>
                  <a:lnTo>
                    <a:pt x="18033" y="37650"/>
                  </a:lnTo>
                  <a:lnTo>
                    <a:pt x="18231" y="38641"/>
                  </a:lnTo>
                  <a:lnTo>
                    <a:pt x="18429" y="39731"/>
                  </a:lnTo>
                  <a:lnTo>
                    <a:pt x="18826" y="40919"/>
                  </a:lnTo>
                  <a:lnTo>
                    <a:pt x="19321" y="41910"/>
                  </a:lnTo>
                  <a:lnTo>
                    <a:pt x="19916" y="43000"/>
                  </a:lnTo>
                  <a:lnTo>
                    <a:pt x="20213" y="43595"/>
                  </a:lnTo>
                  <a:lnTo>
                    <a:pt x="20411" y="43793"/>
                  </a:lnTo>
                  <a:lnTo>
                    <a:pt x="20609" y="43991"/>
                  </a:lnTo>
                  <a:lnTo>
                    <a:pt x="21005" y="44189"/>
                  </a:lnTo>
                  <a:lnTo>
                    <a:pt x="21303" y="44486"/>
                  </a:lnTo>
                  <a:lnTo>
                    <a:pt x="21600" y="44784"/>
                  </a:lnTo>
                  <a:lnTo>
                    <a:pt x="21798" y="44982"/>
                  </a:lnTo>
                  <a:lnTo>
                    <a:pt x="22293" y="45477"/>
                  </a:lnTo>
                  <a:lnTo>
                    <a:pt x="22888" y="45873"/>
                  </a:lnTo>
                  <a:lnTo>
                    <a:pt x="23780" y="46468"/>
                  </a:lnTo>
                  <a:lnTo>
                    <a:pt x="24671" y="46963"/>
                  </a:lnTo>
                  <a:lnTo>
                    <a:pt x="27346" y="48053"/>
                  </a:lnTo>
                  <a:lnTo>
                    <a:pt x="28634" y="48548"/>
                  </a:lnTo>
                  <a:lnTo>
                    <a:pt x="30022" y="48945"/>
                  </a:lnTo>
                  <a:lnTo>
                    <a:pt x="31111" y="49341"/>
                  </a:lnTo>
                  <a:lnTo>
                    <a:pt x="32300" y="49638"/>
                  </a:lnTo>
                  <a:lnTo>
                    <a:pt x="33390" y="49836"/>
                  </a:lnTo>
                  <a:lnTo>
                    <a:pt x="34480" y="50035"/>
                  </a:lnTo>
                  <a:lnTo>
                    <a:pt x="35570" y="50332"/>
                  </a:lnTo>
                  <a:lnTo>
                    <a:pt x="35867" y="50332"/>
                  </a:lnTo>
                  <a:lnTo>
                    <a:pt x="36065" y="50431"/>
                  </a:lnTo>
                  <a:lnTo>
                    <a:pt x="36065" y="50629"/>
                  </a:lnTo>
                  <a:lnTo>
                    <a:pt x="36164" y="51125"/>
                  </a:lnTo>
                  <a:lnTo>
                    <a:pt x="36164" y="51620"/>
                  </a:lnTo>
                  <a:lnTo>
                    <a:pt x="36164" y="52016"/>
                  </a:lnTo>
                  <a:lnTo>
                    <a:pt x="36164" y="52313"/>
                  </a:lnTo>
                  <a:lnTo>
                    <a:pt x="36362" y="52908"/>
                  </a:lnTo>
                  <a:lnTo>
                    <a:pt x="36660" y="53403"/>
                  </a:lnTo>
                  <a:lnTo>
                    <a:pt x="36759" y="53998"/>
                  </a:lnTo>
                  <a:lnTo>
                    <a:pt x="36759" y="54196"/>
                  </a:lnTo>
                  <a:lnTo>
                    <a:pt x="36858" y="54493"/>
                  </a:lnTo>
                  <a:lnTo>
                    <a:pt x="36957" y="54691"/>
                  </a:lnTo>
                  <a:lnTo>
                    <a:pt x="37056" y="54989"/>
                  </a:lnTo>
                  <a:lnTo>
                    <a:pt x="37254" y="55682"/>
                  </a:lnTo>
                  <a:lnTo>
                    <a:pt x="37452" y="56376"/>
                  </a:lnTo>
                  <a:lnTo>
                    <a:pt x="37651" y="56772"/>
                  </a:lnTo>
                  <a:lnTo>
                    <a:pt x="37948" y="56970"/>
                  </a:lnTo>
                  <a:lnTo>
                    <a:pt x="38344" y="57168"/>
                  </a:lnTo>
                  <a:lnTo>
                    <a:pt x="38740" y="57168"/>
                  </a:lnTo>
                  <a:lnTo>
                    <a:pt x="39137" y="57267"/>
                  </a:lnTo>
                  <a:lnTo>
                    <a:pt x="39236" y="57366"/>
                  </a:lnTo>
                  <a:lnTo>
                    <a:pt x="39236" y="57565"/>
                  </a:lnTo>
                  <a:lnTo>
                    <a:pt x="39137" y="57862"/>
                  </a:lnTo>
                  <a:lnTo>
                    <a:pt x="39137" y="58258"/>
                  </a:lnTo>
                  <a:lnTo>
                    <a:pt x="39038" y="59150"/>
                  </a:lnTo>
                  <a:lnTo>
                    <a:pt x="39038" y="59942"/>
                  </a:lnTo>
                  <a:lnTo>
                    <a:pt x="39137" y="60834"/>
                  </a:lnTo>
                  <a:lnTo>
                    <a:pt x="39038" y="61726"/>
                  </a:lnTo>
                  <a:lnTo>
                    <a:pt x="39038" y="62915"/>
                  </a:lnTo>
                  <a:lnTo>
                    <a:pt x="38939" y="63608"/>
                  </a:lnTo>
                  <a:lnTo>
                    <a:pt x="38839" y="64203"/>
                  </a:lnTo>
                  <a:lnTo>
                    <a:pt x="38839" y="64500"/>
                  </a:lnTo>
                  <a:lnTo>
                    <a:pt x="38839" y="64896"/>
                  </a:lnTo>
                  <a:lnTo>
                    <a:pt x="38939" y="65689"/>
                  </a:lnTo>
                  <a:lnTo>
                    <a:pt x="38839" y="66581"/>
                  </a:lnTo>
                  <a:lnTo>
                    <a:pt x="38740" y="67373"/>
                  </a:lnTo>
                  <a:lnTo>
                    <a:pt x="38740" y="68265"/>
                  </a:lnTo>
                  <a:lnTo>
                    <a:pt x="38740" y="68661"/>
                  </a:lnTo>
                  <a:lnTo>
                    <a:pt x="38641" y="69058"/>
                  </a:lnTo>
                  <a:lnTo>
                    <a:pt x="38641" y="69454"/>
                  </a:lnTo>
                  <a:lnTo>
                    <a:pt x="38740" y="69850"/>
                  </a:lnTo>
                  <a:lnTo>
                    <a:pt x="38839" y="70247"/>
                  </a:lnTo>
                  <a:lnTo>
                    <a:pt x="38740" y="70445"/>
                  </a:lnTo>
                  <a:lnTo>
                    <a:pt x="38740" y="70643"/>
                  </a:lnTo>
                  <a:lnTo>
                    <a:pt x="38542" y="71039"/>
                  </a:lnTo>
                  <a:lnTo>
                    <a:pt x="38641" y="71436"/>
                  </a:lnTo>
                  <a:lnTo>
                    <a:pt x="38641" y="71634"/>
                  </a:lnTo>
                  <a:lnTo>
                    <a:pt x="38641" y="71733"/>
                  </a:lnTo>
                  <a:lnTo>
                    <a:pt x="38443" y="72030"/>
                  </a:lnTo>
                  <a:lnTo>
                    <a:pt x="38344" y="72228"/>
                  </a:lnTo>
                  <a:lnTo>
                    <a:pt x="38443" y="72426"/>
                  </a:lnTo>
                  <a:lnTo>
                    <a:pt x="38344" y="72922"/>
                  </a:lnTo>
                  <a:lnTo>
                    <a:pt x="38047" y="73516"/>
                  </a:lnTo>
                  <a:lnTo>
                    <a:pt x="37750" y="74111"/>
                  </a:lnTo>
                  <a:lnTo>
                    <a:pt x="37551" y="74210"/>
                  </a:lnTo>
                  <a:lnTo>
                    <a:pt x="37353" y="74408"/>
                  </a:lnTo>
                  <a:lnTo>
                    <a:pt x="36957" y="74507"/>
                  </a:lnTo>
                  <a:lnTo>
                    <a:pt x="36759" y="74705"/>
                  </a:lnTo>
                  <a:lnTo>
                    <a:pt x="36263" y="75101"/>
                  </a:lnTo>
                  <a:lnTo>
                    <a:pt x="35669" y="75498"/>
                  </a:lnTo>
                  <a:lnTo>
                    <a:pt x="35074" y="75795"/>
                  </a:lnTo>
                  <a:lnTo>
                    <a:pt x="33886" y="76290"/>
                  </a:lnTo>
                  <a:lnTo>
                    <a:pt x="32994" y="76687"/>
                  </a:lnTo>
                  <a:lnTo>
                    <a:pt x="32201" y="77083"/>
                  </a:lnTo>
                  <a:lnTo>
                    <a:pt x="30616" y="77975"/>
                  </a:lnTo>
                  <a:lnTo>
                    <a:pt x="29031" y="78767"/>
                  </a:lnTo>
                  <a:lnTo>
                    <a:pt x="27941" y="79263"/>
                  </a:lnTo>
                  <a:lnTo>
                    <a:pt x="27445" y="79560"/>
                  </a:lnTo>
                  <a:lnTo>
                    <a:pt x="26950" y="79956"/>
                  </a:lnTo>
                  <a:lnTo>
                    <a:pt x="26752" y="80154"/>
                  </a:lnTo>
                  <a:lnTo>
                    <a:pt x="26653" y="80452"/>
                  </a:lnTo>
                  <a:lnTo>
                    <a:pt x="26455" y="81244"/>
                  </a:lnTo>
                  <a:lnTo>
                    <a:pt x="26455" y="81641"/>
                  </a:lnTo>
                  <a:lnTo>
                    <a:pt x="26455" y="82136"/>
                  </a:lnTo>
                  <a:lnTo>
                    <a:pt x="26455" y="82235"/>
                  </a:lnTo>
                  <a:lnTo>
                    <a:pt x="26356" y="82334"/>
                  </a:lnTo>
                  <a:lnTo>
                    <a:pt x="25860" y="82334"/>
                  </a:lnTo>
                  <a:lnTo>
                    <a:pt x="25365" y="82532"/>
                  </a:lnTo>
                  <a:lnTo>
                    <a:pt x="24473" y="82929"/>
                  </a:lnTo>
                  <a:lnTo>
                    <a:pt x="23879" y="83127"/>
                  </a:lnTo>
                  <a:lnTo>
                    <a:pt x="23284" y="83523"/>
                  </a:lnTo>
                  <a:lnTo>
                    <a:pt x="22888" y="84018"/>
                  </a:lnTo>
                  <a:lnTo>
                    <a:pt x="22789" y="84316"/>
                  </a:lnTo>
                  <a:lnTo>
                    <a:pt x="22690" y="84613"/>
                  </a:lnTo>
                  <a:lnTo>
                    <a:pt x="22492" y="86297"/>
                  </a:lnTo>
                  <a:lnTo>
                    <a:pt x="22393" y="87090"/>
                  </a:lnTo>
                  <a:lnTo>
                    <a:pt x="22393" y="87982"/>
                  </a:lnTo>
                  <a:lnTo>
                    <a:pt x="22393" y="88180"/>
                  </a:lnTo>
                  <a:lnTo>
                    <a:pt x="22393" y="88477"/>
                  </a:lnTo>
                  <a:lnTo>
                    <a:pt x="22393" y="88675"/>
                  </a:lnTo>
                  <a:lnTo>
                    <a:pt x="22095" y="88774"/>
                  </a:lnTo>
                  <a:lnTo>
                    <a:pt x="21600" y="88873"/>
                  </a:lnTo>
                  <a:lnTo>
                    <a:pt x="21005" y="88972"/>
                  </a:lnTo>
                  <a:lnTo>
                    <a:pt x="20510" y="88972"/>
                  </a:lnTo>
                  <a:lnTo>
                    <a:pt x="19916" y="89071"/>
                  </a:lnTo>
                  <a:lnTo>
                    <a:pt x="18231" y="89567"/>
                  </a:lnTo>
                  <a:lnTo>
                    <a:pt x="16448" y="89963"/>
                  </a:lnTo>
                  <a:lnTo>
                    <a:pt x="16151" y="90062"/>
                  </a:lnTo>
                  <a:lnTo>
                    <a:pt x="15952" y="90161"/>
                  </a:lnTo>
                  <a:lnTo>
                    <a:pt x="15853" y="90359"/>
                  </a:lnTo>
                  <a:lnTo>
                    <a:pt x="15853" y="90657"/>
                  </a:lnTo>
                  <a:lnTo>
                    <a:pt x="15853" y="91548"/>
                  </a:lnTo>
                  <a:lnTo>
                    <a:pt x="15754" y="92341"/>
                  </a:lnTo>
                  <a:lnTo>
                    <a:pt x="15754" y="93134"/>
                  </a:lnTo>
                  <a:lnTo>
                    <a:pt x="15754" y="94025"/>
                  </a:lnTo>
                  <a:lnTo>
                    <a:pt x="15853" y="94521"/>
                  </a:lnTo>
                  <a:lnTo>
                    <a:pt x="15853" y="94818"/>
                  </a:lnTo>
                  <a:lnTo>
                    <a:pt x="15754" y="95115"/>
                  </a:lnTo>
                  <a:lnTo>
                    <a:pt x="15754" y="95214"/>
                  </a:lnTo>
                  <a:lnTo>
                    <a:pt x="15754" y="95412"/>
                  </a:lnTo>
                  <a:lnTo>
                    <a:pt x="15655" y="95511"/>
                  </a:lnTo>
                  <a:lnTo>
                    <a:pt x="15655" y="95710"/>
                  </a:lnTo>
                  <a:lnTo>
                    <a:pt x="15754" y="96007"/>
                  </a:lnTo>
                  <a:lnTo>
                    <a:pt x="15754" y="96403"/>
                  </a:lnTo>
                  <a:lnTo>
                    <a:pt x="15754" y="96998"/>
                  </a:lnTo>
                  <a:lnTo>
                    <a:pt x="15655" y="97394"/>
                  </a:lnTo>
                  <a:lnTo>
                    <a:pt x="15754" y="97790"/>
                  </a:lnTo>
                  <a:lnTo>
                    <a:pt x="15754" y="98187"/>
                  </a:lnTo>
                  <a:lnTo>
                    <a:pt x="15754" y="98385"/>
                  </a:lnTo>
                  <a:lnTo>
                    <a:pt x="15655" y="98583"/>
                  </a:lnTo>
                  <a:lnTo>
                    <a:pt x="15655" y="98682"/>
                  </a:lnTo>
                  <a:lnTo>
                    <a:pt x="15754" y="99177"/>
                  </a:lnTo>
                  <a:lnTo>
                    <a:pt x="15754" y="99574"/>
                  </a:lnTo>
                  <a:lnTo>
                    <a:pt x="15655" y="100267"/>
                  </a:lnTo>
                  <a:lnTo>
                    <a:pt x="15556" y="100564"/>
                  </a:lnTo>
                  <a:lnTo>
                    <a:pt x="15655" y="100763"/>
                  </a:lnTo>
                  <a:lnTo>
                    <a:pt x="15754" y="101159"/>
                  </a:lnTo>
                  <a:lnTo>
                    <a:pt x="15655" y="101555"/>
                  </a:lnTo>
                  <a:lnTo>
                    <a:pt x="15655" y="102249"/>
                  </a:lnTo>
                  <a:lnTo>
                    <a:pt x="15754" y="102942"/>
                  </a:lnTo>
                  <a:lnTo>
                    <a:pt x="15754" y="103339"/>
                  </a:lnTo>
                  <a:lnTo>
                    <a:pt x="15655" y="103636"/>
                  </a:lnTo>
                  <a:lnTo>
                    <a:pt x="15556" y="104131"/>
                  </a:lnTo>
                  <a:lnTo>
                    <a:pt x="15655" y="104528"/>
                  </a:lnTo>
                  <a:lnTo>
                    <a:pt x="15655" y="105023"/>
                  </a:lnTo>
                  <a:lnTo>
                    <a:pt x="15556" y="105419"/>
                  </a:lnTo>
                  <a:lnTo>
                    <a:pt x="15556" y="105716"/>
                  </a:lnTo>
                  <a:lnTo>
                    <a:pt x="15556" y="106014"/>
                  </a:lnTo>
                  <a:lnTo>
                    <a:pt x="15655" y="106608"/>
                  </a:lnTo>
                  <a:lnTo>
                    <a:pt x="15655" y="107104"/>
                  </a:lnTo>
                  <a:lnTo>
                    <a:pt x="15655" y="107500"/>
                  </a:lnTo>
                  <a:lnTo>
                    <a:pt x="15556" y="108392"/>
                  </a:lnTo>
                  <a:lnTo>
                    <a:pt x="15556" y="108986"/>
                  </a:lnTo>
                  <a:lnTo>
                    <a:pt x="15655" y="109680"/>
                  </a:lnTo>
                  <a:lnTo>
                    <a:pt x="15655" y="110373"/>
                  </a:lnTo>
                  <a:lnTo>
                    <a:pt x="15556" y="110968"/>
                  </a:lnTo>
                  <a:lnTo>
                    <a:pt x="15556" y="111760"/>
                  </a:lnTo>
                  <a:lnTo>
                    <a:pt x="15556" y="112553"/>
                  </a:lnTo>
                  <a:lnTo>
                    <a:pt x="15655" y="112949"/>
                  </a:lnTo>
                  <a:lnTo>
                    <a:pt x="15655" y="113346"/>
                  </a:lnTo>
                  <a:lnTo>
                    <a:pt x="15655" y="113841"/>
                  </a:lnTo>
                  <a:lnTo>
                    <a:pt x="15754" y="114336"/>
                  </a:lnTo>
                  <a:lnTo>
                    <a:pt x="15952" y="114832"/>
                  </a:lnTo>
                  <a:lnTo>
                    <a:pt x="16250" y="115228"/>
                  </a:lnTo>
                  <a:lnTo>
                    <a:pt x="16745" y="115525"/>
                  </a:lnTo>
                  <a:lnTo>
                    <a:pt x="17141" y="115525"/>
                  </a:lnTo>
                  <a:lnTo>
                    <a:pt x="17637" y="115426"/>
                  </a:lnTo>
                  <a:lnTo>
                    <a:pt x="18132" y="115426"/>
                  </a:lnTo>
                  <a:lnTo>
                    <a:pt x="20807" y="115525"/>
                  </a:lnTo>
                  <a:lnTo>
                    <a:pt x="24275" y="115525"/>
                  </a:lnTo>
                  <a:lnTo>
                    <a:pt x="27842" y="115426"/>
                  </a:lnTo>
                  <a:lnTo>
                    <a:pt x="33985" y="115327"/>
                  </a:lnTo>
                  <a:lnTo>
                    <a:pt x="49936" y="115327"/>
                  </a:lnTo>
                  <a:lnTo>
                    <a:pt x="55484" y="115426"/>
                  </a:lnTo>
                  <a:lnTo>
                    <a:pt x="57169" y="115426"/>
                  </a:lnTo>
                  <a:lnTo>
                    <a:pt x="58754" y="115525"/>
                  </a:lnTo>
                  <a:lnTo>
                    <a:pt x="68563" y="115525"/>
                  </a:lnTo>
                  <a:lnTo>
                    <a:pt x="68761" y="115426"/>
                  </a:lnTo>
                  <a:lnTo>
                    <a:pt x="68860" y="115426"/>
                  </a:lnTo>
                  <a:lnTo>
                    <a:pt x="68860" y="115129"/>
                  </a:lnTo>
                  <a:lnTo>
                    <a:pt x="68959" y="114931"/>
                  </a:lnTo>
                  <a:lnTo>
                    <a:pt x="69058" y="114832"/>
                  </a:lnTo>
                  <a:lnTo>
                    <a:pt x="69454" y="114634"/>
                  </a:lnTo>
                  <a:lnTo>
                    <a:pt x="69653" y="114435"/>
                  </a:lnTo>
                  <a:lnTo>
                    <a:pt x="69653" y="114237"/>
                  </a:lnTo>
                  <a:lnTo>
                    <a:pt x="69653" y="111562"/>
                  </a:lnTo>
                  <a:lnTo>
                    <a:pt x="69752" y="110076"/>
                  </a:lnTo>
                  <a:lnTo>
                    <a:pt x="69752" y="108491"/>
                  </a:lnTo>
                  <a:lnTo>
                    <a:pt x="69653" y="104924"/>
                  </a:lnTo>
                  <a:lnTo>
                    <a:pt x="69653" y="103140"/>
                  </a:lnTo>
                  <a:lnTo>
                    <a:pt x="69653" y="101357"/>
                  </a:lnTo>
                  <a:lnTo>
                    <a:pt x="69653" y="100465"/>
                  </a:lnTo>
                  <a:lnTo>
                    <a:pt x="69653" y="99475"/>
                  </a:lnTo>
                  <a:lnTo>
                    <a:pt x="69554" y="98682"/>
                  </a:lnTo>
                  <a:lnTo>
                    <a:pt x="69653" y="97790"/>
                  </a:lnTo>
                  <a:lnTo>
                    <a:pt x="69653" y="97097"/>
                  </a:lnTo>
                  <a:lnTo>
                    <a:pt x="69653" y="96403"/>
                  </a:lnTo>
                  <a:lnTo>
                    <a:pt x="69554" y="95016"/>
                  </a:lnTo>
                  <a:lnTo>
                    <a:pt x="69554" y="93827"/>
                  </a:lnTo>
                  <a:lnTo>
                    <a:pt x="69554" y="92638"/>
                  </a:lnTo>
                  <a:lnTo>
                    <a:pt x="69454" y="91350"/>
                  </a:lnTo>
                  <a:lnTo>
                    <a:pt x="69355" y="90657"/>
                  </a:lnTo>
                  <a:lnTo>
                    <a:pt x="69355" y="90062"/>
                  </a:lnTo>
                  <a:lnTo>
                    <a:pt x="69355" y="89963"/>
                  </a:lnTo>
                  <a:lnTo>
                    <a:pt x="69256" y="89864"/>
                  </a:lnTo>
                  <a:lnTo>
                    <a:pt x="68365" y="89666"/>
                  </a:lnTo>
                  <a:lnTo>
                    <a:pt x="67473" y="89369"/>
                  </a:lnTo>
                  <a:lnTo>
                    <a:pt x="66482" y="89170"/>
                  </a:lnTo>
                  <a:lnTo>
                    <a:pt x="65491" y="88972"/>
                  </a:lnTo>
                  <a:lnTo>
                    <a:pt x="64501" y="88774"/>
                  </a:lnTo>
                  <a:lnTo>
                    <a:pt x="64005" y="88675"/>
                  </a:lnTo>
                  <a:lnTo>
                    <a:pt x="63510" y="88576"/>
                  </a:lnTo>
                  <a:lnTo>
                    <a:pt x="63213" y="88576"/>
                  </a:lnTo>
                  <a:lnTo>
                    <a:pt x="63014" y="88378"/>
                  </a:lnTo>
                  <a:lnTo>
                    <a:pt x="62816" y="88180"/>
                  </a:lnTo>
                  <a:lnTo>
                    <a:pt x="62816" y="87783"/>
                  </a:lnTo>
                  <a:lnTo>
                    <a:pt x="62816" y="87288"/>
                  </a:lnTo>
                  <a:lnTo>
                    <a:pt x="62816" y="87090"/>
                  </a:lnTo>
                  <a:lnTo>
                    <a:pt x="62816" y="86793"/>
                  </a:lnTo>
                  <a:lnTo>
                    <a:pt x="62618" y="86297"/>
                  </a:lnTo>
                  <a:lnTo>
                    <a:pt x="62618" y="85802"/>
                  </a:lnTo>
                  <a:lnTo>
                    <a:pt x="62420" y="84712"/>
                  </a:lnTo>
                  <a:lnTo>
                    <a:pt x="62222" y="84117"/>
                  </a:lnTo>
                  <a:lnTo>
                    <a:pt x="61925" y="83721"/>
                  </a:lnTo>
                  <a:lnTo>
                    <a:pt x="61627" y="83424"/>
                  </a:lnTo>
                  <a:lnTo>
                    <a:pt x="61132" y="83127"/>
                  </a:lnTo>
                  <a:lnTo>
                    <a:pt x="60438" y="82929"/>
                  </a:lnTo>
                  <a:lnTo>
                    <a:pt x="60141" y="82730"/>
                  </a:lnTo>
                  <a:lnTo>
                    <a:pt x="59844" y="82631"/>
                  </a:lnTo>
                  <a:lnTo>
                    <a:pt x="59249" y="82532"/>
                  </a:lnTo>
                  <a:lnTo>
                    <a:pt x="58952" y="82433"/>
                  </a:lnTo>
                  <a:lnTo>
                    <a:pt x="58655" y="82433"/>
                  </a:lnTo>
                  <a:lnTo>
                    <a:pt x="58853" y="81641"/>
                  </a:lnTo>
                  <a:lnTo>
                    <a:pt x="58853" y="81244"/>
                  </a:lnTo>
                  <a:lnTo>
                    <a:pt x="58754" y="80848"/>
                  </a:lnTo>
                  <a:lnTo>
                    <a:pt x="58655" y="80353"/>
                  </a:lnTo>
                  <a:lnTo>
                    <a:pt x="58556" y="80055"/>
                  </a:lnTo>
                  <a:lnTo>
                    <a:pt x="58358" y="79857"/>
                  </a:lnTo>
                  <a:lnTo>
                    <a:pt x="57862" y="79461"/>
                  </a:lnTo>
                  <a:lnTo>
                    <a:pt x="57367" y="79164"/>
                  </a:lnTo>
                  <a:lnTo>
                    <a:pt x="56773" y="78866"/>
                  </a:lnTo>
                  <a:lnTo>
                    <a:pt x="56178" y="78668"/>
                  </a:lnTo>
                  <a:lnTo>
                    <a:pt x="54989" y="78173"/>
                  </a:lnTo>
                  <a:lnTo>
                    <a:pt x="53998" y="77578"/>
                  </a:lnTo>
                  <a:lnTo>
                    <a:pt x="53305" y="77182"/>
                  </a:lnTo>
                  <a:lnTo>
                    <a:pt x="52611" y="76885"/>
                  </a:lnTo>
                  <a:lnTo>
                    <a:pt x="51323" y="76290"/>
                  </a:lnTo>
                  <a:lnTo>
                    <a:pt x="50134" y="75597"/>
                  </a:lnTo>
                  <a:lnTo>
                    <a:pt x="49639" y="75399"/>
                  </a:lnTo>
                  <a:lnTo>
                    <a:pt x="49243" y="75101"/>
                  </a:lnTo>
                  <a:lnTo>
                    <a:pt x="48747" y="74903"/>
                  </a:lnTo>
                  <a:lnTo>
                    <a:pt x="48351" y="74606"/>
                  </a:lnTo>
                  <a:lnTo>
                    <a:pt x="47657" y="74012"/>
                  </a:lnTo>
                  <a:lnTo>
                    <a:pt x="47360" y="73813"/>
                  </a:lnTo>
                  <a:lnTo>
                    <a:pt x="47162" y="73516"/>
                  </a:lnTo>
                  <a:lnTo>
                    <a:pt x="46964" y="72922"/>
                  </a:lnTo>
                  <a:lnTo>
                    <a:pt x="46865" y="72327"/>
                  </a:lnTo>
                  <a:lnTo>
                    <a:pt x="46766" y="71733"/>
                  </a:lnTo>
                  <a:lnTo>
                    <a:pt x="46667" y="69553"/>
                  </a:lnTo>
                  <a:lnTo>
                    <a:pt x="46468" y="67274"/>
                  </a:lnTo>
                  <a:lnTo>
                    <a:pt x="46369" y="63806"/>
                  </a:lnTo>
                  <a:lnTo>
                    <a:pt x="46270" y="61627"/>
                  </a:lnTo>
                  <a:lnTo>
                    <a:pt x="46171" y="57664"/>
                  </a:lnTo>
                  <a:lnTo>
                    <a:pt x="46171" y="57466"/>
                  </a:lnTo>
                  <a:lnTo>
                    <a:pt x="46171" y="57366"/>
                  </a:lnTo>
                  <a:lnTo>
                    <a:pt x="46369" y="57267"/>
                  </a:lnTo>
                  <a:lnTo>
                    <a:pt x="46568" y="57168"/>
                  </a:lnTo>
                  <a:lnTo>
                    <a:pt x="47360" y="56871"/>
                  </a:lnTo>
                  <a:lnTo>
                    <a:pt x="47657" y="56673"/>
                  </a:lnTo>
                  <a:lnTo>
                    <a:pt x="47756" y="56475"/>
                  </a:lnTo>
                  <a:lnTo>
                    <a:pt x="47856" y="56277"/>
                  </a:lnTo>
                  <a:lnTo>
                    <a:pt x="48351" y="54493"/>
                  </a:lnTo>
                  <a:lnTo>
                    <a:pt x="48549" y="53998"/>
                  </a:lnTo>
                  <a:lnTo>
                    <a:pt x="48648" y="53601"/>
                  </a:lnTo>
                  <a:lnTo>
                    <a:pt x="48747" y="53205"/>
                  </a:lnTo>
                  <a:lnTo>
                    <a:pt x="48846" y="52710"/>
                  </a:lnTo>
                  <a:lnTo>
                    <a:pt x="49044" y="52313"/>
                  </a:lnTo>
                  <a:lnTo>
                    <a:pt x="49044" y="51917"/>
                  </a:lnTo>
                  <a:lnTo>
                    <a:pt x="49243" y="51323"/>
                  </a:lnTo>
                  <a:lnTo>
                    <a:pt x="49342" y="50728"/>
                  </a:lnTo>
                  <a:lnTo>
                    <a:pt x="49342" y="50530"/>
                  </a:lnTo>
                  <a:lnTo>
                    <a:pt x="49441" y="50431"/>
                  </a:lnTo>
                  <a:lnTo>
                    <a:pt x="49738" y="50332"/>
                  </a:lnTo>
                  <a:lnTo>
                    <a:pt x="51720" y="49936"/>
                  </a:lnTo>
                  <a:lnTo>
                    <a:pt x="55187" y="49044"/>
                  </a:lnTo>
                  <a:lnTo>
                    <a:pt x="56773" y="48548"/>
                  </a:lnTo>
                  <a:lnTo>
                    <a:pt x="58259" y="47855"/>
                  </a:lnTo>
                  <a:lnTo>
                    <a:pt x="58853" y="47558"/>
                  </a:lnTo>
                  <a:lnTo>
                    <a:pt x="59150" y="47459"/>
                  </a:lnTo>
                  <a:lnTo>
                    <a:pt x="59448" y="47459"/>
                  </a:lnTo>
                  <a:lnTo>
                    <a:pt x="59745" y="47360"/>
                  </a:lnTo>
                  <a:lnTo>
                    <a:pt x="60141" y="47260"/>
                  </a:lnTo>
                  <a:lnTo>
                    <a:pt x="60438" y="47161"/>
                  </a:lnTo>
                  <a:lnTo>
                    <a:pt x="60736" y="47062"/>
                  </a:lnTo>
                  <a:lnTo>
                    <a:pt x="60934" y="46963"/>
                  </a:lnTo>
                  <a:lnTo>
                    <a:pt x="61132" y="46864"/>
                  </a:lnTo>
                  <a:lnTo>
                    <a:pt x="61528" y="46567"/>
                  </a:lnTo>
                  <a:lnTo>
                    <a:pt x="62123" y="46270"/>
                  </a:lnTo>
                  <a:lnTo>
                    <a:pt x="62519" y="45873"/>
                  </a:lnTo>
                  <a:lnTo>
                    <a:pt x="63510" y="45180"/>
                  </a:lnTo>
                  <a:lnTo>
                    <a:pt x="63906" y="44684"/>
                  </a:lnTo>
                  <a:lnTo>
                    <a:pt x="64104" y="44486"/>
                  </a:lnTo>
                  <a:lnTo>
                    <a:pt x="64302" y="44288"/>
                  </a:lnTo>
                  <a:lnTo>
                    <a:pt x="64897" y="43892"/>
                  </a:lnTo>
                  <a:lnTo>
                    <a:pt x="65293" y="43396"/>
                  </a:lnTo>
                  <a:lnTo>
                    <a:pt x="65690" y="42901"/>
                  </a:lnTo>
                  <a:lnTo>
                    <a:pt x="66086" y="42307"/>
                  </a:lnTo>
                  <a:lnTo>
                    <a:pt x="66383" y="41712"/>
                  </a:lnTo>
                  <a:lnTo>
                    <a:pt x="66581" y="41019"/>
                  </a:lnTo>
                  <a:lnTo>
                    <a:pt x="66978" y="39731"/>
                  </a:lnTo>
                  <a:lnTo>
                    <a:pt x="67077" y="39037"/>
                  </a:lnTo>
                  <a:lnTo>
                    <a:pt x="67077" y="38343"/>
                  </a:lnTo>
                  <a:lnTo>
                    <a:pt x="67176" y="37749"/>
                  </a:lnTo>
                  <a:lnTo>
                    <a:pt x="67275" y="37055"/>
                  </a:lnTo>
                  <a:lnTo>
                    <a:pt x="67374" y="36659"/>
                  </a:lnTo>
                  <a:lnTo>
                    <a:pt x="67572" y="36461"/>
                  </a:lnTo>
                  <a:lnTo>
                    <a:pt x="68067" y="35966"/>
                  </a:lnTo>
                  <a:lnTo>
                    <a:pt x="69752" y="34777"/>
                  </a:lnTo>
                  <a:lnTo>
                    <a:pt x="70346" y="34281"/>
                  </a:lnTo>
                  <a:lnTo>
                    <a:pt x="70643" y="33984"/>
                  </a:lnTo>
                  <a:lnTo>
                    <a:pt x="70941" y="33786"/>
                  </a:lnTo>
                  <a:lnTo>
                    <a:pt x="71337" y="33588"/>
                  </a:lnTo>
                  <a:lnTo>
                    <a:pt x="71634" y="33290"/>
                  </a:lnTo>
                  <a:lnTo>
                    <a:pt x="71832" y="32993"/>
                  </a:lnTo>
                  <a:lnTo>
                    <a:pt x="72229" y="32795"/>
                  </a:lnTo>
                  <a:lnTo>
                    <a:pt x="72427" y="32597"/>
                  </a:lnTo>
                  <a:lnTo>
                    <a:pt x="72625" y="32498"/>
                  </a:lnTo>
                  <a:lnTo>
                    <a:pt x="72922" y="32102"/>
                  </a:lnTo>
                  <a:lnTo>
                    <a:pt x="74309" y="30714"/>
                  </a:lnTo>
                  <a:lnTo>
                    <a:pt x="74805" y="30120"/>
                  </a:lnTo>
                  <a:lnTo>
                    <a:pt x="75300" y="29625"/>
                  </a:lnTo>
                  <a:lnTo>
                    <a:pt x="75795" y="29129"/>
                  </a:lnTo>
                  <a:lnTo>
                    <a:pt x="76192" y="28634"/>
                  </a:lnTo>
                  <a:lnTo>
                    <a:pt x="76588" y="28138"/>
                  </a:lnTo>
                  <a:lnTo>
                    <a:pt x="76984" y="27643"/>
                  </a:lnTo>
                  <a:lnTo>
                    <a:pt x="77480" y="27148"/>
                  </a:lnTo>
                  <a:lnTo>
                    <a:pt x="77876" y="26553"/>
                  </a:lnTo>
                  <a:lnTo>
                    <a:pt x="78669" y="25463"/>
                  </a:lnTo>
                  <a:lnTo>
                    <a:pt x="79263" y="24373"/>
                  </a:lnTo>
                  <a:lnTo>
                    <a:pt x="79858" y="23383"/>
                  </a:lnTo>
                  <a:lnTo>
                    <a:pt x="80650" y="21896"/>
                  </a:lnTo>
                  <a:lnTo>
                    <a:pt x="81443" y="20311"/>
                  </a:lnTo>
                  <a:lnTo>
                    <a:pt x="81938" y="19320"/>
                  </a:lnTo>
                  <a:lnTo>
                    <a:pt x="82335" y="18330"/>
                  </a:lnTo>
                  <a:lnTo>
                    <a:pt x="83127" y="16348"/>
                  </a:lnTo>
                  <a:lnTo>
                    <a:pt x="83424" y="15357"/>
                  </a:lnTo>
                  <a:lnTo>
                    <a:pt x="83623" y="14862"/>
                  </a:lnTo>
                  <a:lnTo>
                    <a:pt x="83821" y="14367"/>
                  </a:lnTo>
                  <a:lnTo>
                    <a:pt x="84217" y="13277"/>
                  </a:lnTo>
                  <a:lnTo>
                    <a:pt x="84514" y="12088"/>
                  </a:lnTo>
                  <a:lnTo>
                    <a:pt x="85010" y="9908"/>
                  </a:lnTo>
                  <a:lnTo>
                    <a:pt x="85208" y="7530"/>
                  </a:lnTo>
                  <a:lnTo>
                    <a:pt x="85307" y="6143"/>
                  </a:lnTo>
                  <a:lnTo>
                    <a:pt x="85307" y="4756"/>
                  </a:lnTo>
                  <a:lnTo>
                    <a:pt x="85208" y="3171"/>
                  </a:lnTo>
                  <a:lnTo>
                    <a:pt x="84812" y="1486"/>
                  </a:lnTo>
                  <a:lnTo>
                    <a:pt x="84613" y="793"/>
                  </a:lnTo>
                  <a:lnTo>
                    <a:pt x="84415" y="595"/>
                  </a:lnTo>
                  <a:lnTo>
                    <a:pt x="84118" y="397"/>
                  </a:lnTo>
                  <a:lnTo>
                    <a:pt x="83920" y="198"/>
                  </a:lnTo>
                  <a:lnTo>
                    <a:pt x="83623" y="99"/>
                  </a:lnTo>
                  <a:lnTo>
                    <a:pt x="82929" y="99"/>
                  </a:lnTo>
                  <a:lnTo>
                    <a:pt x="82136" y="198"/>
                  </a:lnTo>
                  <a:lnTo>
                    <a:pt x="80650" y="198"/>
                  </a:lnTo>
                  <a:lnTo>
                    <a:pt x="78669" y="397"/>
                  </a:lnTo>
                  <a:lnTo>
                    <a:pt x="76687" y="496"/>
                  </a:lnTo>
                  <a:lnTo>
                    <a:pt x="74805" y="793"/>
                  </a:lnTo>
                  <a:lnTo>
                    <a:pt x="73021" y="1090"/>
                  </a:lnTo>
                  <a:lnTo>
                    <a:pt x="71436" y="1387"/>
                  </a:lnTo>
                  <a:lnTo>
                    <a:pt x="69851" y="1586"/>
                  </a:lnTo>
                  <a:lnTo>
                    <a:pt x="69355" y="1784"/>
                  </a:lnTo>
                  <a:lnTo>
                    <a:pt x="68761" y="1883"/>
                  </a:lnTo>
                  <a:lnTo>
                    <a:pt x="68266" y="1883"/>
                  </a:lnTo>
                  <a:lnTo>
                    <a:pt x="67869" y="2081"/>
                  </a:lnTo>
                  <a:lnTo>
                    <a:pt x="67671" y="2279"/>
                  </a:lnTo>
                  <a:lnTo>
                    <a:pt x="67572" y="2675"/>
                  </a:lnTo>
                  <a:lnTo>
                    <a:pt x="67572" y="3171"/>
                  </a:lnTo>
                  <a:lnTo>
                    <a:pt x="67572" y="3567"/>
                  </a:lnTo>
                  <a:lnTo>
                    <a:pt x="67572" y="4360"/>
                  </a:lnTo>
                  <a:lnTo>
                    <a:pt x="67473" y="5152"/>
                  </a:lnTo>
                  <a:lnTo>
                    <a:pt x="67077" y="6539"/>
                  </a:lnTo>
                  <a:lnTo>
                    <a:pt x="66978" y="7233"/>
                  </a:lnTo>
                  <a:lnTo>
                    <a:pt x="66680" y="7827"/>
                  </a:lnTo>
                  <a:lnTo>
                    <a:pt x="66284" y="8422"/>
                  </a:lnTo>
                  <a:lnTo>
                    <a:pt x="65888" y="9016"/>
                  </a:lnTo>
                  <a:lnTo>
                    <a:pt x="65392" y="9512"/>
                  </a:lnTo>
                  <a:lnTo>
                    <a:pt x="64798" y="9809"/>
                  </a:lnTo>
                  <a:lnTo>
                    <a:pt x="64699" y="9809"/>
                  </a:lnTo>
                  <a:lnTo>
                    <a:pt x="64600" y="9512"/>
                  </a:lnTo>
                  <a:lnTo>
                    <a:pt x="64600" y="9215"/>
                  </a:lnTo>
                  <a:lnTo>
                    <a:pt x="64501" y="9016"/>
                  </a:lnTo>
                  <a:lnTo>
                    <a:pt x="64501" y="8917"/>
                  </a:lnTo>
                  <a:lnTo>
                    <a:pt x="64104" y="7926"/>
                  </a:lnTo>
                  <a:lnTo>
                    <a:pt x="63906" y="6936"/>
                  </a:lnTo>
                  <a:lnTo>
                    <a:pt x="63510" y="5648"/>
                  </a:lnTo>
                  <a:lnTo>
                    <a:pt x="63213" y="4459"/>
                  </a:lnTo>
                  <a:lnTo>
                    <a:pt x="63113" y="4261"/>
                  </a:lnTo>
                  <a:lnTo>
                    <a:pt x="62915" y="4162"/>
                  </a:lnTo>
                  <a:lnTo>
                    <a:pt x="62816" y="4162"/>
                  </a:lnTo>
                  <a:lnTo>
                    <a:pt x="62717" y="4261"/>
                  </a:lnTo>
                  <a:lnTo>
                    <a:pt x="62618" y="4360"/>
                  </a:lnTo>
                  <a:lnTo>
                    <a:pt x="62519" y="4360"/>
                  </a:lnTo>
                  <a:lnTo>
                    <a:pt x="62321" y="4261"/>
                  </a:lnTo>
                  <a:lnTo>
                    <a:pt x="61726" y="3963"/>
                  </a:lnTo>
                  <a:lnTo>
                    <a:pt x="61132" y="3864"/>
                  </a:lnTo>
                  <a:lnTo>
                    <a:pt x="59844" y="3567"/>
                  </a:lnTo>
                  <a:lnTo>
                    <a:pt x="59249" y="3567"/>
                  </a:lnTo>
                  <a:lnTo>
                    <a:pt x="58952" y="3468"/>
                  </a:lnTo>
                  <a:lnTo>
                    <a:pt x="58655" y="3369"/>
                  </a:lnTo>
                  <a:lnTo>
                    <a:pt x="58061" y="3171"/>
                  </a:lnTo>
                  <a:lnTo>
                    <a:pt x="56971" y="3171"/>
                  </a:lnTo>
                  <a:lnTo>
                    <a:pt x="56376" y="3072"/>
                  </a:lnTo>
                  <a:lnTo>
                    <a:pt x="55187" y="2874"/>
                  </a:lnTo>
                  <a:lnTo>
                    <a:pt x="53998" y="2774"/>
                  </a:lnTo>
                  <a:lnTo>
                    <a:pt x="52809" y="2675"/>
                  </a:lnTo>
                  <a:lnTo>
                    <a:pt x="50927" y="2576"/>
                  </a:lnTo>
                  <a:lnTo>
                    <a:pt x="49540" y="2477"/>
                  </a:lnTo>
                  <a:lnTo>
                    <a:pt x="48153" y="2477"/>
                  </a:lnTo>
                  <a:lnTo>
                    <a:pt x="44982" y="2378"/>
                  </a:lnTo>
                  <a:lnTo>
                    <a:pt x="40326" y="2279"/>
                  </a:lnTo>
                  <a:lnTo>
                    <a:pt x="37750" y="2279"/>
                  </a:lnTo>
                  <a:lnTo>
                    <a:pt x="35074" y="2378"/>
                  </a:lnTo>
                  <a:lnTo>
                    <a:pt x="33489" y="2477"/>
                  </a:lnTo>
                  <a:lnTo>
                    <a:pt x="31904" y="2576"/>
                  </a:lnTo>
                  <a:lnTo>
                    <a:pt x="31111" y="2576"/>
                  </a:lnTo>
                  <a:lnTo>
                    <a:pt x="30220" y="2675"/>
                  </a:lnTo>
                  <a:lnTo>
                    <a:pt x="28535" y="2874"/>
                  </a:lnTo>
                  <a:lnTo>
                    <a:pt x="27148" y="2973"/>
                  </a:lnTo>
                  <a:lnTo>
                    <a:pt x="25860" y="3270"/>
                  </a:lnTo>
                  <a:lnTo>
                    <a:pt x="25167" y="3270"/>
                  </a:lnTo>
                  <a:lnTo>
                    <a:pt x="24869" y="3369"/>
                  </a:lnTo>
                  <a:lnTo>
                    <a:pt x="24473" y="3468"/>
                  </a:lnTo>
                  <a:lnTo>
                    <a:pt x="24077" y="3567"/>
                  </a:lnTo>
                  <a:lnTo>
                    <a:pt x="23681" y="3666"/>
                  </a:lnTo>
                  <a:lnTo>
                    <a:pt x="23284" y="3864"/>
                  </a:lnTo>
                  <a:lnTo>
                    <a:pt x="22987" y="4062"/>
                  </a:lnTo>
                  <a:lnTo>
                    <a:pt x="22789" y="4162"/>
                  </a:lnTo>
                  <a:lnTo>
                    <a:pt x="22591" y="4162"/>
                  </a:lnTo>
                  <a:lnTo>
                    <a:pt x="22293" y="4062"/>
                  </a:lnTo>
                  <a:lnTo>
                    <a:pt x="22095" y="4162"/>
                  </a:lnTo>
                  <a:lnTo>
                    <a:pt x="21996" y="4360"/>
                  </a:lnTo>
                  <a:lnTo>
                    <a:pt x="21897" y="4558"/>
                  </a:lnTo>
                  <a:lnTo>
                    <a:pt x="21600" y="5152"/>
                  </a:lnTo>
                  <a:lnTo>
                    <a:pt x="21402" y="5747"/>
                  </a:lnTo>
                  <a:lnTo>
                    <a:pt x="20807" y="7926"/>
                  </a:lnTo>
                  <a:lnTo>
                    <a:pt x="20312" y="9908"/>
                  </a:lnTo>
                  <a:lnTo>
                    <a:pt x="20015" y="9413"/>
                  </a:lnTo>
                  <a:lnTo>
                    <a:pt x="19618" y="9016"/>
                  </a:lnTo>
                  <a:lnTo>
                    <a:pt x="19222" y="8620"/>
                  </a:lnTo>
                  <a:lnTo>
                    <a:pt x="18925" y="8125"/>
                  </a:lnTo>
                  <a:lnTo>
                    <a:pt x="18528" y="7233"/>
                  </a:lnTo>
                  <a:lnTo>
                    <a:pt x="18330" y="6440"/>
                  </a:lnTo>
                  <a:lnTo>
                    <a:pt x="18132" y="5549"/>
                  </a:lnTo>
                  <a:lnTo>
                    <a:pt x="17934" y="4558"/>
                  </a:lnTo>
                  <a:lnTo>
                    <a:pt x="17835" y="2675"/>
                  </a:lnTo>
                  <a:lnTo>
                    <a:pt x="17736" y="2378"/>
                  </a:lnTo>
                  <a:lnTo>
                    <a:pt x="17637" y="2180"/>
                  </a:lnTo>
                  <a:lnTo>
                    <a:pt x="17439" y="2081"/>
                  </a:lnTo>
                  <a:lnTo>
                    <a:pt x="17141" y="2180"/>
                  </a:lnTo>
                  <a:lnTo>
                    <a:pt x="16844" y="2279"/>
                  </a:lnTo>
                  <a:lnTo>
                    <a:pt x="16646" y="2180"/>
                  </a:lnTo>
                  <a:lnTo>
                    <a:pt x="16547" y="2081"/>
                  </a:lnTo>
                  <a:lnTo>
                    <a:pt x="16547" y="1883"/>
                  </a:lnTo>
                  <a:lnTo>
                    <a:pt x="16448" y="1883"/>
                  </a:lnTo>
                  <a:lnTo>
                    <a:pt x="16151" y="1982"/>
                  </a:lnTo>
                  <a:lnTo>
                    <a:pt x="15952" y="1982"/>
                  </a:lnTo>
                  <a:lnTo>
                    <a:pt x="15754" y="1883"/>
                  </a:lnTo>
                  <a:lnTo>
                    <a:pt x="15556" y="1784"/>
                  </a:lnTo>
                  <a:lnTo>
                    <a:pt x="15358" y="1685"/>
                  </a:lnTo>
                  <a:lnTo>
                    <a:pt x="14664" y="1685"/>
                  </a:lnTo>
                  <a:lnTo>
                    <a:pt x="14268" y="1486"/>
                  </a:lnTo>
                  <a:lnTo>
                    <a:pt x="13971" y="1387"/>
                  </a:lnTo>
                  <a:lnTo>
                    <a:pt x="13575" y="1387"/>
                  </a:lnTo>
                  <a:lnTo>
                    <a:pt x="13376" y="1288"/>
                  </a:lnTo>
                  <a:lnTo>
                    <a:pt x="13277" y="1189"/>
                  </a:lnTo>
                  <a:lnTo>
                    <a:pt x="13079" y="1189"/>
                  </a:lnTo>
                  <a:lnTo>
                    <a:pt x="12881" y="1387"/>
                  </a:lnTo>
                  <a:lnTo>
                    <a:pt x="12683" y="1387"/>
                  </a:lnTo>
                  <a:lnTo>
                    <a:pt x="12584" y="1288"/>
                  </a:lnTo>
                  <a:lnTo>
                    <a:pt x="12386" y="1090"/>
                  </a:lnTo>
                  <a:lnTo>
                    <a:pt x="12287" y="1090"/>
                  </a:lnTo>
                  <a:lnTo>
                    <a:pt x="12088" y="1189"/>
                  </a:lnTo>
                  <a:lnTo>
                    <a:pt x="11890" y="1189"/>
                  </a:lnTo>
                  <a:lnTo>
                    <a:pt x="11791" y="1090"/>
                  </a:lnTo>
                  <a:lnTo>
                    <a:pt x="11593" y="991"/>
                  </a:lnTo>
                  <a:lnTo>
                    <a:pt x="11395" y="991"/>
                  </a:lnTo>
                  <a:lnTo>
                    <a:pt x="10999" y="1090"/>
                  </a:lnTo>
                  <a:lnTo>
                    <a:pt x="10602" y="991"/>
                  </a:lnTo>
                  <a:lnTo>
                    <a:pt x="10206" y="892"/>
                  </a:lnTo>
                  <a:lnTo>
                    <a:pt x="9810" y="892"/>
                  </a:lnTo>
                  <a:lnTo>
                    <a:pt x="9711" y="793"/>
                  </a:lnTo>
                  <a:lnTo>
                    <a:pt x="9611" y="694"/>
                  </a:lnTo>
                  <a:lnTo>
                    <a:pt x="9017" y="694"/>
                  </a:lnTo>
                  <a:lnTo>
                    <a:pt x="8720" y="595"/>
                  </a:lnTo>
                  <a:lnTo>
                    <a:pt x="8323" y="595"/>
                  </a:lnTo>
                  <a:lnTo>
                    <a:pt x="7828" y="496"/>
                  </a:lnTo>
                  <a:lnTo>
                    <a:pt x="7333" y="496"/>
                  </a:lnTo>
                  <a:lnTo>
                    <a:pt x="6738" y="397"/>
                  </a:lnTo>
                  <a:lnTo>
                    <a:pt x="3667" y="397"/>
                  </a:lnTo>
                  <a:lnTo>
                    <a:pt x="3370" y="496"/>
                  </a:lnTo>
                  <a:lnTo>
                    <a:pt x="3171" y="397"/>
                  </a:lnTo>
                  <a:lnTo>
                    <a:pt x="247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1" name="Google Shape;414;p31">
              <a:extLst>
                <a:ext uri="{FF2B5EF4-FFF2-40B4-BE49-F238E27FC236}">
                  <a16:creationId xmlns:a16="http://schemas.microsoft.com/office/drawing/2014/main" id="{DB37F896-2149-99CD-1B8B-C62B514BDBB2}"/>
                </a:ext>
              </a:extLst>
            </p:cNvPr>
            <p:cNvSpPr/>
            <p:nvPr/>
          </p:nvSpPr>
          <p:spPr>
            <a:xfrm>
              <a:off x="4690716" y="1536500"/>
              <a:ext cx="518300" cy="846458"/>
            </a:xfrm>
            <a:custGeom>
              <a:avLst/>
              <a:gdLst/>
              <a:ahLst/>
              <a:cxnLst/>
              <a:rect l="l" t="t" r="r" b="b"/>
              <a:pathLst>
                <a:path w="16745" h="27347" extrusionOk="0">
                  <a:moveTo>
                    <a:pt x="8125" y="1"/>
                  </a:moveTo>
                  <a:lnTo>
                    <a:pt x="7927" y="100"/>
                  </a:lnTo>
                  <a:lnTo>
                    <a:pt x="7828" y="298"/>
                  </a:lnTo>
                  <a:lnTo>
                    <a:pt x="7629" y="992"/>
                  </a:lnTo>
                  <a:lnTo>
                    <a:pt x="7431" y="2280"/>
                  </a:lnTo>
                  <a:lnTo>
                    <a:pt x="7332" y="2874"/>
                  </a:lnTo>
                  <a:lnTo>
                    <a:pt x="7332" y="3568"/>
                  </a:lnTo>
                  <a:lnTo>
                    <a:pt x="7431" y="4261"/>
                  </a:lnTo>
                  <a:lnTo>
                    <a:pt x="7629" y="5054"/>
                  </a:lnTo>
                  <a:lnTo>
                    <a:pt x="7828" y="5747"/>
                  </a:lnTo>
                  <a:lnTo>
                    <a:pt x="8125" y="6540"/>
                  </a:lnTo>
                  <a:lnTo>
                    <a:pt x="8521" y="7234"/>
                  </a:lnTo>
                  <a:lnTo>
                    <a:pt x="8917" y="7828"/>
                  </a:lnTo>
                  <a:lnTo>
                    <a:pt x="9314" y="8522"/>
                  </a:lnTo>
                  <a:lnTo>
                    <a:pt x="9908" y="9017"/>
                  </a:lnTo>
                  <a:lnTo>
                    <a:pt x="10305" y="9314"/>
                  </a:lnTo>
                  <a:lnTo>
                    <a:pt x="10503" y="9711"/>
                  </a:lnTo>
                  <a:lnTo>
                    <a:pt x="10701" y="10107"/>
                  </a:lnTo>
                  <a:lnTo>
                    <a:pt x="10602" y="10701"/>
                  </a:lnTo>
                  <a:lnTo>
                    <a:pt x="10602" y="11098"/>
                  </a:lnTo>
                  <a:lnTo>
                    <a:pt x="10602" y="11494"/>
                  </a:lnTo>
                  <a:lnTo>
                    <a:pt x="10305" y="12881"/>
                  </a:lnTo>
                  <a:lnTo>
                    <a:pt x="9908" y="14268"/>
                  </a:lnTo>
                  <a:lnTo>
                    <a:pt x="9512" y="13872"/>
                  </a:lnTo>
                  <a:lnTo>
                    <a:pt x="9413" y="13575"/>
                  </a:lnTo>
                  <a:lnTo>
                    <a:pt x="9413" y="13178"/>
                  </a:lnTo>
                  <a:lnTo>
                    <a:pt x="9512" y="12683"/>
                  </a:lnTo>
                  <a:lnTo>
                    <a:pt x="9710" y="11989"/>
                  </a:lnTo>
                  <a:lnTo>
                    <a:pt x="9710" y="11593"/>
                  </a:lnTo>
                  <a:lnTo>
                    <a:pt x="9611" y="11296"/>
                  </a:lnTo>
                  <a:lnTo>
                    <a:pt x="9413" y="10602"/>
                  </a:lnTo>
                  <a:lnTo>
                    <a:pt x="9116" y="10008"/>
                  </a:lnTo>
                  <a:lnTo>
                    <a:pt x="8719" y="9413"/>
                  </a:lnTo>
                  <a:lnTo>
                    <a:pt x="8224" y="8918"/>
                  </a:lnTo>
                  <a:lnTo>
                    <a:pt x="7828" y="8522"/>
                  </a:lnTo>
                  <a:lnTo>
                    <a:pt x="7431" y="8224"/>
                  </a:lnTo>
                  <a:lnTo>
                    <a:pt x="6441" y="7630"/>
                  </a:lnTo>
                  <a:lnTo>
                    <a:pt x="6044" y="7531"/>
                  </a:lnTo>
                  <a:lnTo>
                    <a:pt x="5648" y="7432"/>
                  </a:lnTo>
                  <a:lnTo>
                    <a:pt x="4558" y="7432"/>
                  </a:lnTo>
                  <a:lnTo>
                    <a:pt x="4459" y="7630"/>
                  </a:lnTo>
                  <a:lnTo>
                    <a:pt x="4360" y="7828"/>
                  </a:lnTo>
                  <a:lnTo>
                    <a:pt x="4360" y="8125"/>
                  </a:lnTo>
                  <a:lnTo>
                    <a:pt x="4459" y="8621"/>
                  </a:lnTo>
                  <a:lnTo>
                    <a:pt x="4459" y="9116"/>
                  </a:lnTo>
                  <a:lnTo>
                    <a:pt x="4558" y="9611"/>
                  </a:lnTo>
                  <a:lnTo>
                    <a:pt x="4657" y="10107"/>
                  </a:lnTo>
                  <a:lnTo>
                    <a:pt x="4855" y="10503"/>
                  </a:lnTo>
                  <a:lnTo>
                    <a:pt x="4954" y="10900"/>
                  </a:lnTo>
                  <a:lnTo>
                    <a:pt x="5053" y="11296"/>
                  </a:lnTo>
                  <a:lnTo>
                    <a:pt x="5351" y="11593"/>
                  </a:lnTo>
                  <a:lnTo>
                    <a:pt x="5450" y="11791"/>
                  </a:lnTo>
                  <a:lnTo>
                    <a:pt x="5450" y="12088"/>
                  </a:lnTo>
                  <a:lnTo>
                    <a:pt x="5450" y="12287"/>
                  </a:lnTo>
                  <a:lnTo>
                    <a:pt x="5549" y="12485"/>
                  </a:lnTo>
                  <a:lnTo>
                    <a:pt x="5747" y="12584"/>
                  </a:lnTo>
                  <a:lnTo>
                    <a:pt x="5846" y="12683"/>
                  </a:lnTo>
                  <a:lnTo>
                    <a:pt x="6143" y="12683"/>
                  </a:lnTo>
                  <a:lnTo>
                    <a:pt x="6143" y="12881"/>
                  </a:lnTo>
                  <a:lnTo>
                    <a:pt x="6143" y="13079"/>
                  </a:lnTo>
                  <a:lnTo>
                    <a:pt x="6441" y="13277"/>
                  </a:lnTo>
                  <a:lnTo>
                    <a:pt x="6936" y="13476"/>
                  </a:lnTo>
                  <a:lnTo>
                    <a:pt x="7233" y="13773"/>
                  </a:lnTo>
                  <a:lnTo>
                    <a:pt x="7530" y="13971"/>
                  </a:lnTo>
                  <a:lnTo>
                    <a:pt x="7729" y="14070"/>
                  </a:lnTo>
                  <a:lnTo>
                    <a:pt x="8125" y="13971"/>
                  </a:lnTo>
                  <a:lnTo>
                    <a:pt x="8818" y="13971"/>
                  </a:lnTo>
                  <a:lnTo>
                    <a:pt x="8917" y="14070"/>
                  </a:lnTo>
                  <a:lnTo>
                    <a:pt x="9314" y="14764"/>
                  </a:lnTo>
                  <a:lnTo>
                    <a:pt x="9710" y="15358"/>
                  </a:lnTo>
                  <a:lnTo>
                    <a:pt x="9710" y="15457"/>
                  </a:lnTo>
                  <a:lnTo>
                    <a:pt x="9611" y="15556"/>
                  </a:lnTo>
                  <a:lnTo>
                    <a:pt x="9413" y="16250"/>
                  </a:lnTo>
                  <a:lnTo>
                    <a:pt x="9116" y="16844"/>
                  </a:lnTo>
                  <a:lnTo>
                    <a:pt x="9017" y="17340"/>
                  </a:lnTo>
                  <a:lnTo>
                    <a:pt x="8818" y="17736"/>
                  </a:lnTo>
                  <a:lnTo>
                    <a:pt x="8422" y="18429"/>
                  </a:lnTo>
                  <a:lnTo>
                    <a:pt x="8224" y="19024"/>
                  </a:lnTo>
                  <a:lnTo>
                    <a:pt x="8026" y="19321"/>
                  </a:lnTo>
                  <a:lnTo>
                    <a:pt x="7729" y="19519"/>
                  </a:lnTo>
                  <a:lnTo>
                    <a:pt x="7629" y="19519"/>
                  </a:lnTo>
                  <a:lnTo>
                    <a:pt x="7629" y="19420"/>
                  </a:lnTo>
                  <a:lnTo>
                    <a:pt x="7530" y="19222"/>
                  </a:lnTo>
                  <a:lnTo>
                    <a:pt x="7332" y="19123"/>
                  </a:lnTo>
                  <a:lnTo>
                    <a:pt x="7233" y="18925"/>
                  </a:lnTo>
                  <a:lnTo>
                    <a:pt x="7134" y="18429"/>
                  </a:lnTo>
                  <a:lnTo>
                    <a:pt x="7134" y="17538"/>
                  </a:lnTo>
                  <a:lnTo>
                    <a:pt x="7134" y="16745"/>
                  </a:lnTo>
                  <a:lnTo>
                    <a:pt x="6936" y="16052"/>
                  </a:lnTo>
                  <a:lnTo>
                    <a:pt x="6738" y="15655"/>
                  </a:lnTo>
                  <a:lnTo>
                    <a:pt x="6540" y="15358"/>
                  </a:lnTo>
                  <a:lnTo>
                    <a:pt x="6242" y="15061"/>
                  </a:lnTo>
                  <a:lnTo>
                    <a:pt x="5945" y="14764"/>
                  </a:lnTo>
                  <a:lnTo>
                    <a:pt x="5351" y="14367"/>
                  </a:lnTo>
                  <a:lnTo>
                    <a:pt x="4756" y="14070"/>
                  </a:lnTo>
                  <a:lnTo>
                    <a:pt x="4063" y="13872"/>
                  </a:lnTo>
                  <a:lnTo>
                    <a:pt x="3369" y="13773"/>
                  </a:lnTo>
                  <a:lnTo>
                    <a:pt x="3171" y="13773"/>
                  </a:lnTo>
                  <a:lnTo>
                    <a:pt x="2973" y="13971"/>
                  </a:lnTo>
                  <a:lnTo>
                    <a:pt x="2874" y="14466"/>
                  </a:lnTo>
                  <a:lnTo>
                    <a:pt x="2973" y="14863"/>
                  </a:lnTo>
                  <a:lnTo>
                    <a:pt x="3171" y="15754"/>
                  </a:lnTo>
                  <a:lnTo>
                    <a:pt x="3567" y="16745"/>
                  </a:lnTo>
                  <a:lnTo>
                    <a:pt x="4063" y="17637"/>
                  </a:lnTo>
                  <a:lnTo>
                    <a:pt x="4360" y="18033"/>
                  </a:lnTo>
                  <a:lnTo>
                    <a:pt x="4657" y="18330"/>
                  </a:lnTo>
                  <a:lnTo>
                    <a:pt x="4954" y="18628"/>
                  </a:lnTo>
                  <a:lnTo>
                    <a:pt x="5351" y="18826"/>
                  </a:lnTo>
                  <a:lnTo>
                    <a:pt x="6242" y="19024"/>
                  </a:lnTo>
                  <a:lnTo>
                    <a:pt x="6540" y="19222"/>
                  </a:lnTo>
                  <a:lnTo>
                    <a:pt x="6738" y="19420"/>
                  </a:lnTo>
                  <a:lnTo>
                    <a:pt x="6837" y="19618"/>
                  </a:lnTo>
                  <a:lnTo>
                    <a:pt x="7134" y="20312"/>
                  </a:lnTo>
                  <a:lnTo>
                    <a:pt x="7134" y="20609"/>
                  </a:lnTo>
                  <a:lnTo>
                    <a:pt x="6936" y="21105"/>
                  </a:lnTo>
                  <a:lnTo>
                    <a:pt x="6441" y="21798"/>
                  </a:lnTo>
                  <a:lnTo>
                    <a:pt x="5846" y="22591"/>
                  </a:lnTo>
                  <a:lnTo>
                    <a:pt x="5648" y="22987"/>
                  </a:lnTo>
                  <a:lnTo>
                    <a:pt x="5252" y="23284"/>
                  </a:lnTo>
                  <a:lnTo>
                    <a:pt x="4558" y="23978"/>
                  </a:lnTo>
                  <a:lnTo>
                    <a:pt x="4360" y="23383"/>
                  </a:lnTo>
                  <a:lnTo>
                    <a:pt x="4360" y="23185"/>
                  </a:lnTo>
                  <a:lnTo>
                    <a:pt x="4459" y="22888"/>
                  </a:lnTo>
                  <a:lnTo>
                    <a:pt x="4558" y="22194"/>
                  </a:lnTo>
                  <a:lnTo>
                    <a:pt x="4558" y="21897"/>
                  </a:lnTo>
                  <a:lnTo>
                    <a:pt x="4558" y="21501"/>
                  </a:lnTo>
                  <a:lnTo>
                    <a:pt x="4261" y="20708"/>
                  </a:lnTo>
                  <a:lnTo>
                    <a:pt x="3964" y="19916"/>
                  </a:lnTo>
                  <a:lnTo>
                    <a:pt x="3567" y="19222"/>
                  </a:lnTo>
                  <a:lnTo>
                    <a:pt x="2973" y="18628"/>
                  </a:lnTo>
                  <a:lnTo>
                    <a:pt x="1982" y="17835"/>
                  </a:lnTo>
                  <a:lnTo>
                    <a:pt x="1388" y="17637"/>
                  </a:lnTo>
                  <a:lnTo>
                    <a:pt x="793" y="17340"/>
                  </a:lnTo>
                  <a:lnTo>
                    <a:pt x="496" y="17340"/>
                  </a:lnTo>
                  <a:lnTo>
                    <a:pt x="397" y="17439"/>
                  </a:lnTo>
                  <a:lnTo>
                    <a:pt x="298" y="17637"/>
                  </a:lnTo>
                  <a:lnTo>
                    <a:pt x="100" y="18529"/>
                  </a:lnTo>
                  <a:lnTo>
                    <a:pt x="1" y="19420"/>
                  </a:lnTo>
                  <a:lnTo>
                    <a:pt x="100" y="20312"/>
                  </a:lnTo>
                  <a:lnTo>
                    <a:pt x="298" y="21105"/>
                  </a:lnTo>
                  <a:lnTo>
                    <a:pt x="397" y="21501"/>
                  </a:lnTo>
                  <a:lnTo>
                    <a:pt x="595" y="21897"/>
                  </a:lnTo>
                  <a:lnTo>
                    <a:pt x="1090" y="22591"/>
                  </a:lnTo>
                  <a:lnTo>
                    <a:pt x="1487" y="22987"/>
                  </a:lnTo>
                  <a:lnTo>
                    <a:pt x="1784" y="23383"/>
                  </a:lnTo>
                  <a:lnTo>
                    <a:pt x="2279" y="23681"/>
                  </a:lnTo>
                  <a:lnTo>
                    <a:pt x="2775" y="23780"/>
                  </a:lnTo>
                  <a:lnTo>
                    <a:pt x="3171" y="23780"/>
                  </a:lnTo>
                  <a:lnTo>
                    <a:pt x="3468" y="23978"/>
                  </a:lnTo>
                  <a:lnTo>
                    <a:pt x="3765" y="24473"/>
                  </a:lnTo>
                  <a:lnTo>
                    <a:pt x="3865" y="24671"/>
                  </a:lnTo>
                  <a:lnTo>
                    <a:pt x="3765" y="24671"/>
                  </a:lnTo>
                  <a:lnTo>
                    <a:pt x="3567" y="24870"/>
                  </a:lnTo>
                  <a:lnTo>
                    <a:pt x="3468" y="25068"/>
                  </a:lnTo>
                  <a:lnTo>
                    <a:pt x="3270" y="25266"/>
                  </a:lnTo>
                  <a:lnTo>
                    <a:pt x="3072" y="25464"/>
                  </a:lnTo>
                  <a:lnTo>
                    <a:pt x="1982" y="26158"/>
                  </a:lnTo>
                  <a:lnTo>
                    <a:pt x="892" y="26851"/>
                  </a:lnTo>
                  <a:lnTo>
                    <a:pt x="694" y="26950"/>
                  </a:lnTo>
                  <a:lnTo>
                    <a:pt x="694" y="27148"/>
                  </a:lnTo>
                  <a:lnTo>
                    <a:pt x="892" y="27346"/>
                  </a:lnTo>
                  <a:lnTo>
                    <a:pt x="991" y="27346"/>
                  </a:lnTo>
                  <a:lnTo>
                    <a:pt x="1487" y="27247"/>
                  </a:lnTo>
                  <a:lnTo>
                    <a:pt x="1982" y="27247"/>
                  </a:lnTo>
                  <a:lnTo>
                    <a:pt x="2775" y="26950"/>
                  </a:lnTo>
                  <a:lnTo>
                    <a:pt x="3468" y="26455"/>
                  </a:lnTo>
                  <a:lnTo>
                    <a:pt x="4063" y="25959"/>
                  </a:lnTo>
                  <a:lnTo>
                    <a:pt x="4756" y="25365"/>
                  </a:lnTo>
                  <a:lnTo>
                    <a:pt x="5053" y="25068"/>
                  </a:lnTo>
                  <a:lnTo>
                    <a:pt x="5252" y="24969"/>
                  </a:lnTo>
                  <a:lnTo>
                    <a:pt x="5549" y="25068"/>
                  </a:lnTo>
                  <a:lnTo>
                    <a:pt x="6143" y="25068"/>
                  </a:lnTo>
                  <a:lnTo>
                    <a:pt x="6639" y="24969"/>
                  </a:lnTo>
                  <a:lnTo>
                    <a:pt x="7035" y="25167"/>
                  </a:lnTo>
                  <a:lnTo>
                    <a:pt x="7332" y="25464"/>
                  </a:lnTo>
                  <a:lnTo>
                    <a:pt x="7629" y="25761"/>
                  </a:lnTo>
                  <a:lnTo>
                    <a:pt x="8026" y="26257"/>
                  </a:lnTo>
                  <a:lnTo>
                    <a:pt x="8323" y="26455"/>
                  </a:lnTo>
                  <a:lnTo>
                    <a:pt x="8719" y="26554"/>
                  </a:lnTo>
                  <a:lnTo>
                    <a:pt x="8917" y="26653"/>
                  </a:lnTo>
                  <a:lnTo>
                    <a:pt x="9215" y="26752"/>
                  </a:lnTo>
                  <a:lnTo>
                    <a:pt x="9710" y="26950"/>
                  </a:lnTo>
                  <a:lnTo>
                    <a:pt x="10206" y="27049"/>
                  </a:lnTo>
                  <a:lnTo>
                    <a:pt x="11196" y="27049"/>
                  </a:lnTo>
                  <a:lnTo>
                    <a:pt x="11692" y="26950"/>
                  </a:lnTo>
                  <a:lnTo>
                    <a:pt x="12187" y="26851"/>
                  </a:lnTo>
                  <a:lnTo>
                    <a:pt x="13079" y="26356"/>
                  </a:lnTo>
                  <a:lnTo>
                    <a:pt x="13376" y="26158"/>
                  </a:lnTo>
                  <a:lnTo>
                    <a:pt x="13574" y="25860"/>
                  </a:lnTo>
                  <a:lnTo>
                    <a:pt x="13574" y="25563"/>
                  </a:lnTo>
                  <a:lnTo>
                    <a:pt x="13475" y="25266"/>
                  </a:lnTo>
                  <a:lnTo>
                    <a:pt x="13277" y="24870"/>
                  </a:lnTo>
                  <a:lnTo>
                    <a:pt x="12980" y="24473"/>
                  </a:lnTo>
                  <a:lnTo>
                    <a:pt x="12286" y="23879"/>
                  </a:lnTo>
                  <a:lnTo>
                    <a:pt x="11890" y="23581"/>
                  </a:lnTo>
                  <a:lnTo>
                    <a:pt x="11394" y="23383"/>
                  </a:lnTo>
                  <a:lnTo>
                    <a:pt x="10998" y="23185"/>
                  </a:lnTo>
                  <a:lnTo>
                    <a:pt x="10503" y="23086"/>
                  </a:lnTo>
                  <a:lnTo>
                    <a:pt x="9611" y="23086"/>
                  </a:lnTo>
                  <a:lnTo>
                    <a:pt x="8620" y="23284"/>
                  </a:lnTo>
                  <a:lnTo>
                    <a:pt x="8125" y="23482"/>
                  </a:lnTo>
                  <a:lnTo>
                    <a:pt x="7828" y="23581"/>
                  </a:lnTo>
                  <a:lnTo>
                    <a:pt x="7629" y="23780"/>
                  </a:lnTo>
                  <a:lnTo>
                    <a:pt x="7233" y="24077"/>
                  </a:lnTo>
                  <a:lnTo>
                    <a:pt x="6936" y="24275"/>
                  </a:lnTo>
                  <a:lnTo>
                    <a:pt x="6540" y="24374"/>
                  </a:lnTo>
                  <a:lnTo>
                    <a:pt x="5945" y="24374"/>
                  </a:lnTo>
                  <a:lnTo>
                    <a:pt x="5846" y="24275"/>
                  </a:lnTo>
                  <a:lnTo>
                    <a:pt x="5846" y="24176"/>
                  </a:lnTo>
                  <a:lnTo>
                    <a:pt x="5945" y="23978"/>
                  </a:lnTo>
                  <a:lnTo>
                    <a:pt x="6441" y="23383"/>
                  </a:lnTo>
                  <a:lnTo>
                    <a:pt x="6936" y="22690"/>
                  </a:lnTo>
                  <a:lnTo>
                    <a:pt x="7332" y="22194"/>
                  </a:lnTo>
                  <a:lnTo>
                    <a:pt x="7629" y="21600"/>
                  </a:lnTo>
                  <a:lnTo>
                    <a:pt x="8026" y="21005"/>
                  </a:lnTo>
                  <a:lnTo>
                    <a:pt x="8323" y="20807"/>
                  </a:lnTo>
                  <a:lnTo>
                    <a:pt x="8620" y="20609"/>
                  </a:lnTo>
                  <a:lnTo>
                    <a:pt x="9017" y="20510"/>
                  </a:lnTo>
                  <a:lnTo>
                    <a:pt x="9413" y="20411"/>
                  </a:lnTo>
                  <a:lnTo>
                    <a:pt x="9908" y="20411"/>
                  </a:lnTo>
                  <a:lnTo>
                    <a:pt x="10305" y="20510"/>
                  </a:lnTo>
                  <a:lnTo>
                    <a:pt x="10800" y="20807"/>
                  </a:lnTo>
                  <a:lnTo>
                    <a:pt x="11097" y="20906"/>
                  </a:lnTo>
                  <a:lnTo>
                    <a:pt x="11494" y="20807"/>
                  </a:lnTo>
                  <a:lnTo>
                    <a:pt x="12682" y="20807"/>
                  </a:lnTo>
                  <a:lnTo>
                    <a:pt x="13178" y="20609"/>
                  </a:lnTo>
                  <a:lnTo>
                    <a:pt x="14169" y="20114"/>
                  </a:lnTo>
                  <a:lnTo>
                    <a:pt x="14565" y="19817"/>
                  </a:lnTo>
                  <a:lnTo>
                    <a:pt x="14862" y="19618"/>
                  </a:lnTo>
                  <a:lnTo>
                    <a:pt x="15358" y="18925"/>
                  </a:lnTo>
                  <a:lnTo>
                    <a:pt x="16150" y="17439"/>
                  </a:lnTo>
                  <a:lnTo>
                    <a:pt x="16150" y="17141"/>
                  </a:lnTo>
                  <a:lnTo>
                    <a:pt x="16150" y="16844"/>
                  </a:lnTo>
                  <a:lnTo>
                    <a:pt x="15952" y="16745"/>
                  </a:lnTo>
                  <a:lnTo>
                    <a:pt x="15754" y="16646"/>
                  </a:lnTo>
                  <a:lnTo>
                    <a:pt x="15060" y="16448"/>
                  </a:lnTo>
                  <a:lnTo>
                    <a:pt x="14268" y="16349"/>
                  </a:lnTo>
                  <a:lnTo>
                    <a:pt x="13178" y="16646"/>
                  </a:lnTo>
                  <a:lnTo>
                    <a:pt x="12583" y="16844"/>
                  </a:lnTo>
                  <a:lnTo>
                    <a:pt x="12088" y="17042"/>
                  </a:lnTo>
                  <a:lnTo>
                    <a:pt x="11494" y="17439"/>
                  </a:lnTo>
                  <a:lnTo>
                    <a:pt x="10998" y="17835"/>
                  </a:lnTo>
                  <a:lnTo>
                    <a:pt x="10503" y="18330"/>
                  </a:lnTo>
                  <a:lnTo>
                    <a:pt x="10106" y="18826"/>
                  </a:lnTo>
                  <a:lnTo>
                    <a:pt x="10007" y="18925"/>
                  </a:lnTo>
                  <a:lnTo>
                    <a:pt x="9908" y="19222"/>
                  </a:lnTo>
                  <a:lnTo>
                    <a:pt x="9809" y="19519"/>
                  </a:lnTo>
                  <a:lnTo>
                    <a:pt x="9710" y="19618"/>
                  </a:lnTo>
                  <a:lnTo>
                    <a:pt x="9413" y="19717"/>
                  </a:lnTo>
                  <a:lnTo>
                    <a:pt x="9215" y="19817"/>
                  </a:lnTo>
                  <a:lnTo>
                    <a:pt x="9017" y="19717"/>
                  </a:lnTo>
                  <a:lnTo>
                    <a:pt x="8917" y="19717"/>
                  </a:lnTo>
                  <a:lnTo>
                    <a:pt x="8917" y="19618"/>
                  </a:lnTo>
                  <a:lnTo>
                    <a:pt x="8917" y="19420"/>
                  </a:lnTo>
                  <a:lnTo>
                    <a:pt x="9512" y="18529"/>
                  </a:lnTo>
                  <a:lnTo>
                    <a:pt x="9908" y="17538"/>
                  </a:lnTo>
                  <a:lnTo>
                    <a:pt x="10206" y="16745"/>
                  </a:lnTo>
                  <a:lnTo>
                    <a:pt x="10404" y="15853"/>
                  </a:lnTo>
                  <a:lnTo>
                    <a:pt x="10503" y="15556"/>
                  </a:lnTo>
                  <a:lnTo>
                    <a:pt x="10602" y="15358"/>
                  </a:lnTo>
                  <a:lnTo>
                    <a:pt x="10800" y="15160"/>
                  </a:lnTo>
                  <a:lnTo>
                    <a:pt x="10998" y="15061"/>
                  </a:lnTo>
                  <a:lnTo>
                    <a:pt x="11295" y="14863"/>
                  </a:lnTo>
                  <a:lnTo>
                    <a:pt x="11593" y="14664"/>
                  </a:lnTo>
                  <a:lnTo>
                    <a:pt x="12088" y="14169"/>
                  </a:lnTo>
                  <a:lnTo>
                    <a:pt x="12385" y="14070"/>
                  </a:lnTo>
                  <a:lnTo>
                    <a:pt x="13970" y="14070"/>
                  </a:lnTo>
                  <a:lnTo>
                    <a:pt x="14565" y="13872"/>
                  </a:lnTo>
                  <a:lnTo>
                    <a:pt x="14763" y="13674"/>
                  </a:lnTo>
                  <a:lnTo>
                    <a:pt x="15060" y="13376"/>
                  </a:lnTo>
                  <a:lnTo>
                    <a:pt x="15655" y="12683"/>
                  </a:lnTo>
                  <a:lnTo>
                    <a:pt x="16051" y="12287"/>
                  </a:lnTo>
                  <a:lnTo>
                    <a:pt x="16249" y="11989"/>
                  </a:lnTo>
                  <a:lnTo>
                    <a:pt x="16249" y="11791"/>
                  </a:lnTo>
                  <a:lnTo>
                    <a:pt x="16546" y="10503"/>
                  </a:lnTo>
                  <a:lnTo>
                    <a:pt x="16745" y="9909"/>
                  </a:lnTo>
                  <a:lnTo>
                    <a:pt x="16745" y="9314"/>
                  </a:lnTo>
                  <a:lnTo>
                    <a:pt x="16745" y="8224"/>
                  </a:lnTo>
                  <a:lnTo>
                    <a:pt x="16646" y="7927"/>
                  </a:lnTo>
                  <a:lnTo>
                    <a:pt x="16546" y="7828"/>
                  </a:lnTo>
                  <a:lnTo>
                    <a:pt x="16348" y="7729"/>
                  </a:lnTo>
                  <a:lnTo>
                    <a:pt x="16150" y="7729"/>
                  </a:lnTo>
                  <a:lnTo>
                    <a:pt x="15952" y="7927"/>
                  </a:lnTo>
                  <a:lnTo>
                    <a:pt x="15556" y="7927"/>
                  </a:lnTo>
                  <a:lnTo>
                    <a:pt x="15457" y="7828"/>
                  </a:lnTo>
                  <a:lnTo>
                    <a:pt x="15358" y="7927"/>
                  </a:lnTo>
                  <a:lnTo>
                    <a:pt x="15358" y="8026"/>
                  </a:lnTo>
                  <a:lnTo>
                    <a:pt x="15258" y="8026"/>
                  </a:lnTo>
                  <a:lnTo>
                    <a:pt x="14961" y="7828"/>
                  </a:lnTo>
                  <a:lnTo>
                    <a:pt x="14763" y="7828"/>
                  </a:lnTo>
                  <a:lnTo>
                    <a:pt x="14466" y="8125"/>
                  </a:lnTo>
                  <a:lnTo>
                    <a:pt x="14070" y="8224"/>
                  </a:lnTo>
                  <a:lnTo>
                    <a:pt x="13970" y="8323"/>
                  </a:lnTo>
                  <a:lnTo>
                    <a:pt x="13871" y="8522"/>
                  </a:lnTo>
                  <a:lnTo>
                    <a:pt x="13574" y="8522"/>
                  </a:lnTo>
                  <a:lnTo>
                    <a:pt x="13376" y="8621"/>
                  </a:lnTo>
                  <a:lnTo>
                    <a:pt x="13178" y="8918"/>
                  </a:lnTo>
                  <a:lnTo>
                    <a:pt x="12484" y="9711"/>
                  </a:lnTo>
                  <a:lnTo>
                    <a:pt x="11989" y="10602"/>
                  </a:lnTo>
                  <a:lnTo>
                    <a:pt x="11890" y="11098"/>
                  </a:lnTo>
                  <a:lnTo>
                    <a:pt x="11791" y="11593"/>
                  </a:lnTo>
                  <a:lnTo>
                    <a:pt x="11791" y="12088"/>
                  </a:lnTo>
                  <a:lnTo>
                    <a:pt x="11791" y="12683"/>
                  </a:lnTo>
                  <a:lnTo>
                    <a:pt x="11791" y="13079"/>
                  </a:lnTo>
                  <a:lnTo>
                    <a:pt x="11692" y="13575"/>
                  </a:lnTo>
                  <a:lnTo>
                    <a:pt x="11494" y="13872"/>
                  </a:lnTo>
                  <a:lnTo>
                    <a:pt x="11196" y="14268"/>
                  </a:lnTo>
                  <a:lnTo>
                    <a:pt x="11097" y="14367"/>
                  </a:lnTo>
                  <a:lnTo>
                    <a:pt x="10899" y="14367"/>
                  </a:lnTo>
                  <a:lnTo>
                    <a:pt x="10800" y="14268"/>
                  </a:lnTo>
                  <a:lnTo>
                    <a:pt x="10800" y="14070"/>
                  </a:lnTo>
                  <a:lnTo>
                    <a:pt x="10998" y="13376"/>
                  </a:lnTo>
                  <a:lnTo>
                    <a:pt x="11196" y="12782"/>
                  </a:lnTo>
                  <a:lnTo>
                    <a:pt x="11295" y="11098"/>
                  </a:lnTo>
                  <a:lnTo>
                    <a:pt x="11295" y="10206"/>
                  </a:lnTo>
                  <a:lnTo>
                    <a:pt x="11196" y="9314"/>
                  </a:lnTo>
                  <a:lnTo>
                    <a:pt x="11295" y="8918"/>
                  </a:lnTo>
                  <a:lnTo>
                    <a:pt x="11494" y="8026"/>
                  </a:lnTo>
                  <a:lnTo>
                    <a:pt x="11791" y="7135"/>
                  </a:lnTo>
                  <a:lnTo>
                    <a:pt x="11890" y="6540"/>
                  </a:lnTo>
                  <a:lnTo>
                    <a:pt x="11890" y="6045"/>
                  </a:lnTo>
                  <a:lnTo>
                    <a:pt x="11791" y="4955"/>
                  </a:lnTo>
                  <a:lnTo>
                    <a:pt x="11494" y="4063"/>
                  </a:lnTo>
                  <a:lnTo>
                    <a:pt x="11097" y="3072"/>
                  </a:lnTo>
                  <a:lnTo>
                    <a:pt x="10701" y="2280"/>
                  </a:lnTo>
                  <a:lnTo>
                    <a:pt x="10206" y="1586"/>
                  </a:lnTo>
                  <a:lnTo>
                    <a:pt x="9710" y="992"/>
                  </a:lnTo>
                  <a:lnTo>
                    <a:pt x="9116" y="397"/>
                  </a:lnTo>
                  <a:lnTo>
                    <a:pt x="852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2" name="Google Shape;415;p31">
              <a:extLst>
                <a:ext uri="{FF2B5EF4-FFF2-40B4-BE49-F238E27FC236}">
                  <a16:creationId xmlns:a16="http://schemas.microsoft.com/office/drawing/2014/main" id="{69939BF4-651A-5AEE-4888-2BC60D8FE225}"/>
                </a:ext>
              </a:extLst>
            </p:cNvPr>
            <p:cNvSpPr/>
            <p:nvPr/>
          </p:nvSpPr>
          <p:spPr>
            <a:xfrm>
              <a:off x="3933254" y="1536500"/>
              <a:ext cx="509107" cy="843394"/>
            </a:xfrm>
            <a:custGeom>
              <a:avLst/>
              <a:gdLst/>
              <a:ahLst/>
              <a:cxnLst/>
              <a:rect l="l" t="t" r="r" b="b"/>
              <a:pathLst>
                <a:path w="16448" h="27248" extrusionOk="0">
                  <a:moveTo>
                    <a:pt x="8323" y="1"/>
                  </a:moveTo>
                  <a:lnTo>
                    <a:pt x="8125" y="100"/>
                  </a:lnTo>
                  <a:lnTo>
                    <a:pt x="7827" y="199"/>
                  </a:lnTo>
                  <a:lnTo>
                    <a:pt x="7431" y="595"/>
                  </a:lnTo>
                  <a:lnTo>
                    <a:pt x="7035" y="992"/>
                  </a:lnTo>
                  <a:lnTo>
                    <a:pt x="6440" y="1883"/>
                  </a:lnTo>
                  <a:lnTo>
                    <a:pt x="5846" y="2577"/>
                  </a:lnTo>
                  <a:lnTo>
                    <a:pt x="5450" y="3370"/>
                  </a:lnTo>
                  <a:lnTo>
                    <a:pt x="5152" y="4261"/>
                  </a:lnTo>
                  <a:lnTo>
                    <a:pt x="4954" y="5153"/>
                  </a:lnTo>
                  <a:lnTo>
                    <a:pt x="4954" y="5847"/>
                  </a:lnTo>
                  <a:lnTo>
                    <a:pt x="4954" y="6639"/>
                  </a:lnTo>
                  <a:lnTo>
                    <a:pt x="5053" y="7432"/>
                  </a:lnTo>
                  <a:lnTo>
                    <a:pt x="5152" y="8125"/>
                  </a:lnTo>
                  <a:lnTo>
                    <a:pt x="5350" y="8720"/>
                  </a:lnTo>
                  <a:lnTo>
                    <a:pt x="5450" y="9017"/>
                  </a:lnTo>
                  <a:lnTo>
                    <a:pt x="5450" y="9314"/>
                  </a:lnTo>
                  <a:lnTo>
                    <a:pt x="5350" y="10008"/>
                  </a:lnTo>
                  <a:lnTo>
                    <a:pt x="5350" y="10701"/>
                  </a:lnTo>
                  <a:lnTo>
                    <a:pt x="5450" y="12088"/>
                  </a:lnTo>
                  <a:lnTo>
                    <a:pt x="5549" y="12980"/>
                  </a:lnTo>
                  <a:lnTo>
                    <a:pt x="5846" y="13872"/>
                  </a:lnTo>
                  <a:lnTo>
                    <a:pt x="5846" y="14070"/>
                  </a:lnTo>
                  <a:lnTo>
                    <a:pt x="5747" y="14169"/>
                  </a:lnTo>
                  <a:lnTo>
                    <a:pt x="5648" y="14268"/>
                  </a:lnTo>
                  <a:lnTo>
                    <a:pt x="5152" y="13773"/>
                  </a:lnTo>
                  <a:lnTo>
                    <a:pt x="5053" y="13476"/>
                  </a:lnTo>
                  <a:lnTo>
                    <a:pt x="4855" y="13277"/>
                  </a:lnTo>
                  <a:lnTo>
                    <a:pt x="4855" y="12485"/>
                  </a:lnTo>
                  <a:lnTo>
                    <a:pt x="4855" y="11593"/>
                  </a:lnTo>
                  <a:lnTo>
                    <a:pt x="4657" y="10900"/>
                  </a:lnTo>
                  <a:lnTo>
                    <a:pt x="4459" y="10206"/>
                  </a:lnTo>
                  <a:lnTo>
                    <a:pt x="4062" y="9611"/>
                  </a:lnTo>
                  <a:lnTo>
                    <a:pt x="3567" y="9116"/>
                  </a:lnTo>
                  <a:lnTo>
                    <a:pt x="2973" y="8522"/>
                  </a:lnTo>
                  <a:lnTo>
                    <a:pt x="2675" y="8323"/>
                  </a:lnTo>
                  <a:lnTo>
                    <a:pt x="2180" y="8224"/>
                  </a:lnTo>
                  <a:lnTo>
                    <a:pt x="1883" y="8026"/>
                  </a:lnTo>
                  <a:lnTo>
                    <a:pt x="1685" y="7828"/>
                  </a:lnTo>
                  <a:lnTo>
                    <a:pt x="1288" y="7729"/>
                  </a:lnTo>
                  <a:lnTo>
                    <a:pt x="1189" y="7828"/>
                  </a:lnTo>
                  <a:lnTo>
                    <a:pt x="991" y="7927"/>
                  </a:lnTo>
                  <a:lnTo>
                    <a:pt x="892" y="8026"/>
                  </a:lnTo>
                  <a:lnTo>
                    <a:pt x="793" y="7927"/>
                  </a:lnTo>
                  <a:lnTo>
                    <a:pt x="595" y="7828"/>
                  </a:lnTo>
                  <a:lnTo>
                    <a:pt x="397" y="7828"/>
                  </a:lnTo>
                  <a:lnTo>
                    <a:pt x="198" y="7927"/>
                  </a:lnTo>
                  <a:lnTo>
                    <a:pt x="99" y="8125"/>
                  </a:lnTo>
                  <a:lnTo>
                    <a:pt x="0" y="8918"/>
                  </a:lnTo>
                  <a:lnTo>
                    <a:pt x="0" y="9909"/>
                  </a:lnTo>
                  <a:lnTo>
                    <a:pt x="198" y="10900"/>
                  </a:lnTo>
                  <a:lnTo>
                    <a:pt x="595" y="11890"/>
                  </a:lnTo>
                  <a:lnTo>
                    <a:pt x="793" y="12287"/>
                  </a:lnTo>
                  <a:lnTo>
                    <a:pt x="1090" y="12683"/>
                  </a:lnTo>
                  <a:lnTo>
                    <a:pt x="1586" y="13277"/>
                  </a:lnTo>
                  <a:lnTo>
                    <a:pt x="2180" y="13773"/>
                  </a:lnTo>
                  <a:lnTo>
                    <a:pt x="2576" y="13971"/>
                  </a:lnTo>
                  <a:lnTo>
                    <a:pt x="2874" y="14070"/>
                  </a:lnTo>
                  <a:lnTo>
                    <a:pt x="3270" y="14169"/>
                  </a:lnTo>
                  <a:lnTo>
                    <a:pt x="3666" y="14169"/>
                  </a:lnTo>
                  <a:lnTo>
                    <a:pt x="4062" y="14070"/>
                  </a:lnTo>
                  <a:lnTo>
                    <a:pt x="4360" y="14169"/>
                  </a:lnTo>
                  <a:lnTo>
                    <a:pt x="4954" y="14367"/>
                  </a:lnTo>
                  <a:lnTo>
                    <a:pt x="5450" y="14764"/>
                  </a:lnTo>
                  <a:lnTo>
                    <a:pt x="5945" y="15259"/>
                  </a:lnTo>
                  <a:lnTo>
                    <a:pt x="6143" y="15556"/>
                  </a:lnTo>
                  <a:lnTo>
                    <a:pt x="6242" y="15853"/>
                  </a:lnTo>
                  <a:lnTo>
                    <a:pt x="6440" y="16547"/>
                  </a:lnTo>
                  <a:lnTo>
                    <a:pt x="6837" y="17835"/>
                  </a:lnTo>
                  <a:lnTo>
                    <a:pt x="7134" y="18529"/>
                  </a:lnTo>
                  <a:lnTo>
                    <a:pt x="7530" y="19123"/>
                  </a:lnTo>
                  <a:lnTo>
                    <a:pt x="7728" y="19519"/>
                  </a:lnTo>
                  <a:lnTo>
                    <a:pt x="7728" y="19717"/>
                  </a:lnTo>
                  <a:lnTo>
                    <a:pt x="7629" y="20015"/>
                  </a:lnTo>
                  <a:lnTo>
                    <a:pt x="7629" y="19916"/>
                  </a:lnTo>
                  <a:lnTo>
                    <a:pt x="7530" y="19817"/>
                  </a:lnTo>
                  <a:lnTo>
                    <a:pt x="7233" y="19817"/>
                  </a:lnTo>
                  <a:lnTo>
                    <a:pt x="7035" y="19717"/>
                  </a:lnTo>
                  <a:lnTo>
                    <a:pt x="6936" y="19618"/>
                  </a:lnTo>
                  <a:lnTo>
                    <a:pt x="6936" y="19519"/>
                  </a:lnTo>
                  <a:lnTo>
                    <a:pt x="6837" y="19123"/>
                  </a:lnTo>
                  <a:lnTo>
                    <a:pt x="6639" y="18727"/>
                  </a:lnTo>
                  <a:lnTo>
                    <a:pt x="6044" y="18132"/>
                  </a:lnTo>
                  <a:lnTo>
                    <a:pt x="5450" y="17637"/>
                  </a:lnTo>
                  <a:lnTo>
                    <a:pt x="4855" y="17141"/>
                  </a:lnTo>
                  <a:lnTo>
                    <a:pt x="4162" y="16844"/>
                  </a:lnTo>
                  <a:lnTo>
                    <a:pt x="3468" y="16646"/>
                  </a:lnTo>
                  <a:lnTo>
                    <a:pt x="2774" y="16448"/>
                  </a:lnTo>
                  <a:lnTo>
                    <a:pt x="2081" y="16349"/>
                  </a:lnTo>
                  <a:lnTo>
                    <a:pt x="1387" y="16448"/>
                  </a:lnTo>
                  <a:lnTo>
                    <a:pt x="694" y="16745"/>
                  </a:lnTo>
                  <a:lnTo>
                    <a:pt x="496" y="16943"/>
                  </a:lnTo>
                  <a:lnTo>
                    <a:pt x="397" y="17042"/>
                  </a:lnTo>
                  <a:lnTo>
                    <a:pt x="496" y="17241"/>
                  </a:lnTo>
                  <a:lnTo>
                    <a:pt x="793" y="18231"/>
                  </a:lnTo>
                  <a:lnTo>
                    <a:pt x="1090" y="18727"/>
                  </a:lnTo>
                  <a:lnTo>
                    <a:pt x="1387" y="19123"/>
                  </a:lnTo>
                  <a:lnTo>
                    <a:pt x="2180" y="19817"/>
                  </a:lnTo>
                  <a:lnTo>
                    <a:pt x="2576" y="20114"/>
                  </a:lnTo>
                  <a:lnTo>
                    <a:pt x="3072" y="20411"/>
                  </a:lnTo>
                  <a:lnTo>
                    <a:pt x="3765" y="20708"/>
                  </a:lnTo>
                  <a:lnTo>
                    <a:pt x="4459" y="20807"/>
                  </a:lnTo>
                  <a:lnTo>
                    <a:pt x="5251" y="20906"/>
                  </a:lnTo>
                  <a:lnTo>
                    <a:pt x="6044" y="20807"/>
                  </a:lnTo>
                  <a:lnTo>
                    <a:pt x="6440" y="20609"/>
                  </a:lnTo>
                  <a:lnTo>
                    <a:pt x="6738" y="20510"/>
                  </a:lnTo>
                  <a:lnTo>
                    <a:pt x="7134" y="20411"/>
                  </a:lnTo>
                  <a:lnTo>
                    <a:pt x="7332" y="20510"/>
                  </a:lnTo>
                  <a:lnTo>
                    <a:pt x="7530" y="20609"/>
                  </a:lnTo>
                  <a:lnTo>
                    <a:pt x="7827" y="20708"/>
                  </a:lnTo>
                  <a:lnTo>
                    <a:pt x="8125" y="20807"/>
                  </a:lnTo>
                  <a:lnTo>
                    <a:pt x="8323" y="20906"/>
                  </a:lnTo>
                  <a:lnTo>
                    <a:pt x="8521" y="21005"/>
                  </a:lnTo>
                  <a:lnTo>
                    <a:pt x="8719" y="21402"/>
                  </a:lnTo>
                  <a:lnTo>
                    <a:pt x="9115" y="21798"/>
                  </a:lnTo>
                  <a:lnTo>
                    <a:pt x="9413" y="22194"/>
                  </a:lnTo>
                  <a:lnTo>
                    <a:pt x="9512" y="22393"/>
                  </a:lnTo>
                  <a:lnTo>
                    <a:pt x="9512" y="22690"/>
                  </a:lnTo>
                  <a:lnTo>
                    <a:pt x="9908" y="22987"/>
                  </a:lnTo>
                  <a:lnTo>
                    <a:pt x="10106" y="23383"/>
                  </a:lnTo>
                  <a:lnTo>
                    <a:pt x="10403" y="23780"/>
                  </a:lnTo>
                  <a:lnTo>
                    <a:pt x="10602" y="24176"/>
                  </a:lnTo>
                  <a:lnTo>
                    <a:pt x="10701" y="24374"/>
                  </a:lnTo>
                  <a:lnTo>
                    <a:pt x="9908" y="24374"/>
                  </a:lnTo>
                  <a:lnTo>
                    <a:pt x="9611" y="24275"/>
                  </a:lnTo>
                  <a:lnTo>
                    <a:pt x="9215" y="23978"/>
                  </a:lnTo>
                  <a:lnTo>
                    <a:pt x="8818" y="23681"/>
                  </a:lnTo>
                  <a:lnTo>
                    <a:pt x="8026" y="23383"/>
                  </a:lnTo>
                  <a:lnTo>
                    <a:pt x="7134" y="23185"/>
                  </a:lnTo>
                  <a:lnTo>
                    <a:pt x="6143" y="23086"/>
                  </a:lnTo>
                  <a:lnTo>
                    <a:pt x="5450" y="23185"/>
                  </a:lnTo>
                  <a:lnTo>
                    <a:pt x="5053" y="23284"/>
                  </a:lnTo>
                  <a:lnTo>
                    <a:pt x="4756" y="23581"/>
                  </a:lnTo>
                  <a:lnTo>
                    <a:pt x="4062" y="24374"/>
                  </a:lnTo>
                  <a:lnTo>
                    <a:pt x="3270" y="25167"/>
                  </a:lnTo>
                  <a:lnTo>
                    <a:pt x="3072" y="25464"/>
                  </a:lnTo>
                  <a:lnTo>
                    <a:pt x="3072" y="25761"/>
                  </a:lnTo>
                  <a:lnTo>
                    <a:pt x="3171" y="25959"/>
                  </a:lnTo>
                  <a:lnTo>
                    <a:pt x="3369" y="26058"/>
                  </a:lnTo>
                  <a:lnTo>
                    <a:pt x="3666" y="26356"/>
                  </a:lnTo>
                  <a:lnTo>
                    <a:pt x="4162" y="26653"/>
                  </a:lnTo>
                  <a:lnTo>
                    <a:pt x="5053" y="27049"/>
                  </a:lnTo>
                  <a:lnTo>
                    <a:pt x="5251" y="27148"/>
                  </a:lnTo>
                  <a:lnTo>
                    <a:pt x="5549" y="27148"/>
                  </a:lnTo>
                  <a:lnTo>
                    <a:pt x="5945" y="27049"/>
                  </a:lnTo>
                  <a:lnTo>
                    <a:pt x="6341" y="26851"/>
                  </a:lnTo>
                  <a:lnTo>
                    <a:pt x="6539" y="26851"/>
                  </a:lnTo>
                  <a:lnTo>
                    <a:pt x="6738" y="26950"/>
                  </a:lnTo>
                  <a:lnTo>
                    <a:pt x="6837" y="26950"/>
                  </a:lnTo>
                  <a:lnTo>
                    <a:pt x="6837" y="26851"/>
                  </a:lnTo>
                  <a:lnTo>
                    <a:pt x="6837" y="26752"/>
                  </a:lnTo>
                  <a:lnTo>
                    <a:pt x="7134" y="26554"/>
                  </a:lnTo>
                  <a:lnTo>
                    <a:pt x="7233" y="26554"/>
                  </a:lnTo>
                  <a:lnTo>
                    <a:pt x="7233" y="26653"/>
                  </a:lnTo>
                  <a:lnTo>
                    <a:pt x="7233" y="26851"/>
                  </a:lnTo>
                  <a:lnTo>
                    <a:pt x="7431" y="26752"/>
                  </a:lnTo>
                  <a:lnTo>
                    <a:pt x="7431" y="26653"/>
                  </a:lnTo>
                  <a:lnTo>
                    <a:pt x="7629" y="26554"/>
                  </a:lnTo>
                  <a:lnTo>
                    <a:pt x="8125" y="26356"/>
                  </a:lnTo>
                  <a:lnTo>
                    <a:pt x="8620" y="26058"/>
                  </a:lnTo>
                  <a:lnTo>
                    <a:pt x="8917" y="25662"/>
                  </a:lnTo>
                  <a:lnTo>
                    <a:pt x="9314" y="25365"/>
                  </a:lnTo>
                  <a:lnTo>
                    <a:pt x="9809" y="25167"/>
                  </a:lnTo>
                  <a:lnTo>
                    <a:pt x="10304" y="25068"/>
                  </a:lnTo>
                  <a:lnTo>
                    <a:pt x="10998" y="24969"/>
                  </a:lnTo>
                  <a:lnTo>
                    <a:pt x="11295" y="25068"/>
                  </a:lnTo>
                  <a:lnTo>
                    <a:pt x="11592" y="25266"/>
                  </a:lnTo>
                  <a:lnTo>
                    <a:pt x="12088" y="25563"/>
                  </a:lnTo>
                  <a:lnTo>
                    <a:pt x="12484" y="25959"/>
                  </a:lnTo>
                  <a:lnTo>
                    <a:pt x="12880" y="26257"/>
                  </a:lnTo>
                  <a:lnTo>
                    <a:pt x="13376" y="26653"/>
                  </a:lnTo>
                  <a:lnTo>
                    <a:pt x="14367" y="27049"/>
                  </a:lnTo>
                  <a:lnTo>
                    <a:pt x="14862" y="27247"/>
                  </a:lnTo>
                  <a:lnTo>
                    <a:pt x="15853" y="27247"/>
                  </a:lnTo>
                  <a:lnTo>
                    <a:pt x="15853" y="27049"/>
                  </a:lnTo>
                  <a:lnTo>
                    <a:pt x="15853" y="26950"/>
                  </a:lnTo>
                  <a:lnTo>
                    <a:pt x="15754" y="26752"/>
                  </a:lnTo>
                  <a:lnTo>
                    <a:pt x="15655" y="26653"/>
                  </a:lnTo>
                  <a:lnTo>
                    <a:pt x="15456" y="26554"/>
                  </a:lnTo>
                  <a:lnTo>
                    <a:pt x="15159" y="26455"/>
                  </a:lnTo>
                  <a:lnTo>
                    <a:pt x="14961" y="26356"/>
                  </a:lnTo>
                  <a:lnTo>
                    <a:pt x="14466" y="25959"/>
                  </a:lnTo>
                  <a:lnTo>
                    <a:pt x="13970" y="25563"/>
                  </a:lnTo>
                  <a:lnTo>
                    <a:pt x="13475" y="25167"/>
                  </a:lnTo>
                  <a:lnTo>
                    <a:pt x="12979" y="24770"/>
                  </a:lnTo>
                  <a:lnTo>
                    <a:pt x="12781" y="24572"/>
                  </a:lnTo>
                  <a:lnTo>
                    <a:pt x="12682" y="24473"/>
                  </a:lnTo>
                  <a:lnTo>
                    <a:pt x="12781" y="24374"/>
                  </a:lnTo>
                  <a:lnTo>
                    <a:pt x="12979" y="23978"/>
                  </a:lnTo>
                  <a:lnTo>
                    <a:pt x="13079" y="23780"/>
                  </a:lnTo>
                  <a:lnTo>
                    <a:pt x="13277" y="23780"/>
                  </a:lnTo>
                  <a:lnTo>
                    <a:pt x="13871" y="23681"/>
                  </a:lnTo>
                  <a:lnTo>
                    <a:pt x="14367" y="23482"/>
                  </a:lnTo>
                  <a:lnTo>
                    <a:pt x="14862" y="23185"/>
                  </a:lnTo>
                  <a:lnTo>
                    <a:pt x="15258" y="22789"/>
                  </a:lnTo>
                  <a:lnTo>
                    <a:pt x="15853" y="21996"/>
                  </a:lnTo>
                  <a:lnTo>
                    <a:pt x="16051" y="21501"/>
                  </a:lnTo>
                  <a:lnTo>
                    <a:pt x="16249" y="21005"/>
                  </a:lnTo>
                  <a:lnTo>
                    <a:pt x="16348" y="20411"/>
                  </a:lnTo>
                  <a:lnTo>
                    <a:pt x="16447" y="19717"/>
                  </a:lnTo>
                  <a:lnTo>
                    <a:pt x="16447" y="19123"/>
                  </a:lnTo>
                  <a:lnTo>
                    <a:pt x="16447" y="18628"/>
                  </a:lnTo>
                  <a:lnTo>
                    <a:pt x="16348" y="18132"/>
                  </a:lnTo>
                  <a:lnTo>
                    <a:pt x="16249" y="17538"/>
                  </a:lnTo>
                  <a:lnTo>
                    <a:pt x="16150" y="17340"/>
                  </a:lnTo>
                  <a:lnTo>
                    <a:pt x="15952" y="17241"/>
                  </a:lnTo>
                  <a:lnTo>
                    <a:pt x="15754" y="17141"/>
                  </a:lnTo>
                  <a:lnTo>
                    <a:pt x="15655" y="17241"/>
                  </a:lnTo>
                  <a:lnTo>
                    <a:pt x="15159" y="17439"/>
                  </a:lnTo>
                  <a:lnTo>
                    <a:pt x="14763" y="17538"/>
                  </a:lnTo>
                  <a:lnTo>
                    <a:pt x="14267" y="17934"/>
                  </a:lnTo>
                  <a:lnTo>
                    <a:pt x="13772" y="18330"/>
                  </a:lnTo>
                  <a:lnTo>
                    <a:pt x="13079" y="18925"/>
                  </a:lnTo>
                  <a:lnTo>
                    <a:pt x="12583" y="19519"/>
                  </a:lnTo>
                  <a:lnTo>
                    <a:pt x="12286" y="20213"/>
                  </a:lnTo>
                  <a:lnTo>
                    <a:pt x="12088" y="21005"/>
                  </a:lnTo>
                  <a:lnTo>
                    <a:pt x="11989" y="21600"/>
                  </a:lnTo>
                  <a:lnTo>
                    <a:pt x="12088" y="22194"/>
                  </a:lnTo>
                  <a:lnTo>
                    <a:pt x="12286" y="23284"/>
                  </a:lnTo>
                  <a:lnTo>
                    <a:pt x="12385" y="23482"/>
                  </a:lnTo>
                  <a:lnTo>
                    <a:pt x="12385" y="23581"/>
                  </a:lnTo>
                  <a:lnTo>
                    <a:pt x="12286" y="23681"/>
                  </a:lnTo>
                  <a:lnTo>
                    <a:pt x="12088" y="23780"/>
                  </a:lnTo>
                  <a:lnTo>
                    <a:pt x="11890" y="23681"/>
                  </a:lnTo>
                  <a:lnTo>
                    <a:pt x="11592" y="23383"/>
                  </a:lnTo>
                  <a:lnTo>
                    <a:pt x="11295" y="23086"/>
                  </a:lnTo>
                  <a:lnTo>
                    <a:pt x="10998" y="22789"/>
                  </a:lnTo>
                  <a:lnTo>
                    <a:pt x="10701" y="22492"/>
                  </a:lnTo>
                  <a:lnTo>
                    <a:pt x="9314" y="20609"/>
                  </a:lnTo>
                  <a:lnTo>
                    <a:pt x="9215" y="20411"/>
                  </a:lnTo>
                  <a:lnTo>
                    <a:pt x="9314" y="20213"/>
                  </a:lnTo>
                  <a:lnTo>
                    <a:pt x="9611" y="19618"/>
                  </a:lnTo>
                  <a:lnTo>
                    <a:pt x="9908" y="19024"/>
                  </a:lnTo>
                  <a:lnTo>
                    <a:pt x="10007" y="18826"/>
                  </a:lnTo>
                  <a:lnTo>
                    <a:pt x="10304" y="18925"/>
                  </a:lnTo>
                  <a:lnTo>
                    <a:pt x="10701" y="18925"/>
                  </a:lnTo>
                  <a:lnTo>
                    <a:pt x="11097" y="18826"/>
                  </a:lnTo>
                  <a:lnTo>
                    <a:pt x="11592" y="18628"/>
                  </a:lnTo>
                  <a:lnTo>
                    <a:pt x="11989" y="18330"/>
                  </a:lnTo>
                  <a:lnTo>
                    <a:pt x="12286" y="17934"/>
                  </a:lnTo>
                  <a:lnTo>
                    <a:pt x="12583" y="17538"/>
                  </a:lnTo>
                  <a:lnTo>
                    <a:pt x="12979" y="16745"/>
                  </a:lnTo>
                  <a:lnTo>
                    <a:pt x="13376" y="15853"/>
                  </a:lnTo>
                  <a:lnTo>
                    <a:pt x="13772" y="14169"/>
                  </a:lnTo>
                  <a:lnTo>
                    <a:pt x="13772" y="13971"/>
                  </a:lnTo>
                  <a:lnTo>
                    <a:pt x="13475" y="13971"/>
                  </a:lnTo>
                  <a:lnTo>
                    <a:pt x="13376" y="13872"/>
                  </a:lnTo>
                  <a:lnTo>
                    <a:pt x="13178" y="13773"/>
                  </a:lnTo>
                  <a:lnTo>
                    <a:pt x="12979" y="13773"/>
                  </a:lnTo>
                  <a:lnTo>
                    <a:pt x="12286" y="13971"/>
                  </a:lnTo>
                  <a:lnTo>
                    <a:pt x="11493" y="14169"/>
                  </a:lnTo>
                  <a:lnTo>
                    <a:pt x="10899" y="14565"/>
                  </a:lnTo>
                  <a:lnTo>
                    <a:pt x="10602" y="14764"/>
                  </a:lnTo>
                  <a:lnTo>
                    <a:pt x="10304" y="15061"/>
                  </a:lnTo>
                  <a:lnTo>
                    <a:pt x="9908" y="15556"/>
                  </a:lnTo>
                  <a:lnTo>
                    <a:pt x="9611" y="16052"/>
                  </a:lnTo>
                  <a:lnTo>
                    <a:pt x="9512" y="16547"/>
                  </a:lnTo>
                  <a:lnTo>
                    <a:pt x="9413" y="17042"/>
                  </a:lnTo>
                  <a:lnTo>
                    <a:pt x="9413" y="18132"/>
                  </a:lnTo>
                  <a:lnTo>
                    <a:pt x="9314" y="18529"/>
                  </a:lnTo>
                  <a:lnTo>
                    <a:pt x="9215" y="18826"/>
                  </a:lnTo>
                  <a:lnTo>
                    <a:pt x="8719" y="19519"/>
                  </a:lnTo>
                  <a:lnTo>
                    <a:pt x="8323" y="18727"/>
                  </a:lnTo>
                  <a:lnTo>
                    <a:pt x="7927" y="17934"/>
                  </a:lnTo>
                  <a:lnTo>
                    <a:pt x="7629" y="17141"/>
                  </a:lnTo>
                  <a:lnTo>
                    <a:pt x="7431" y="16349"/>
                  </a:lnTo>
                  <a:lnTo>
                    <a:pt x="7332" y="15952"/>
                  </a:lnTo>
                  <a:lnTo>
                    <a:pt x="7431" y="15358"/>
                  </a:lnTo>
                  <a:lnTo>
                    <a:pt x="7629" y="14466"/>
                  </a:lnTo>
                  <a:lnTo>
                    <a:pt x="7728" y="14169"/>
                  </a:lnTo>
                  <a:lnTo>
                    <a:pt x="8026" y="13971"/>
                  </a:lnTo>
                  <a:lnTo>
                    <a:pt x="8224" y="13872"/>
                  </a:lnTo>
                  <a:lnTo>
                    <a:pt x="8521" y="13872"/>
                  </a:lnTo>
                  <a:lnTo>
                    <a:pt x="9016" y="13773"/>
                  </a:lnTo>
                  <a:lnTo>
                    <a:pt x="9512" y="13575"/>
                  </a:lnTo>
                  <a:lnTo>
                    <a:pt x="10007" y="13178"/>
                  </a:lnTo>
                  <a:lnTo>
                    <a:pt x="10503" y="12782"/>
                  </a:lnTo>
                  <a:lnTo>
                    <a:pt x="10899" y="12287"/>
                  </a:lnTo>
                  <a:lnTo>
                    <a:pt x="11295" y="11692"/>
                  </a:lnTo>
                  <a:lnTo>
                    <a:pt x="11791" y="10602"/>
                  </a:lnTo>
                  <a:lnTo>
                    <a:pt x="11989" y="10008"/>
                  </a:lnTo>
                  <a:lnTo>
                    <a:pt x="12187" y="9314"/>
                  </a:lnTo>
                  <a:lnTo>
                    <a:pt x="12187" y="8621"/>
                  </a:lnTo>
                  <a:lnTo>
                    <a:pt x="12286" y="8323"/>
                  </a:lnTo>
                  <a:lnTo>
                    <a:pt x="12385" y="7927"/>
                  </a:lnTo>
                  <a:lnTo>
                    <a:pt x="12385" y="7729"/>
                  </a:lnTo>
                  <a:lnTo>
                    <a:pt x="12385" y="7531"/>
                  </a:lnTo>
                  <a:lnTo>
                    <a:pt x="12187" y="7432"/>
                  </a:lnTo>
                  <a:lnTo>
                    <a:pt x="11394" y="7432"/>
                  </a:lnTo>
                  <a:lnTo>
                    <a:pt x="10602" y="7531"/>
                  </a:lnTo>
                  <a:lnTo>
                    <a:pt x="10205" y="7630"/>
                  </a:lnTo>
                  <a:lnTo>
                    <a:pt x="9809" y="7927"/>
                  </a:lnTo>
                  <a:lnTo>
                    <a:pt x="9016" y="8423"/>
                  </a:lnTo>
                  <a:lnTo>
                    <a:pt x="8422" y="9017"/>
                  </a:lnTo>
                  <a:lnTo>
                    <a:pt x="7827" y="9611"/>
                  </a:lnTo>
                  <a:lnTo>
                    <a:pt x="7431" y="10305"/>
                  </a:lnTo>
                  <a:lnTo>
                    <a:pt x="7134" y="11098"/>
                  </a:lnTo>
                  <a:lnTo>
                    <a:pt x="6936" y="11593"/>
                  </a:lnTo>
                  <a:lnTo>
                    <a:pt x="6936" y="11890"/>
                  </a:lnTo>
                  <a:lnTo>
                    <a:pt x="7134" y="12188"/>
                  </a:lnTo>
                  <a:lnTo>
                    <a:pt x="7332" y="12683"/>
                  </a:lnTo>
                  <a:lnTo>
                    <a:pt x="7332" y="13178"/>
                  </a:lnTo>
                  <a:lnTo>
                    <a:pt x="7233" y="13674"/>
                  </a:lnTo>
                  <a:lnTo>
                    <a:pt x="6837" y="14169"/>
                  </a:lnTo>
                  <a:lnTo>
                    <a:pt x="6738" y="14466"/>
                  </a:lnTo>
                  <a:lnTo>
                    <a:pt x="6341" y="13079"/>
                  </a:lnTo>
                  <a:lnTo>
                    <a:pt x="6242" y="12386"/>
                  </a:lnTo>
                  <a:lnTo>
                    <a:pt x="6143" y="11791"/>
                  </a:lnTo>
                  <a:lnTo>
                    <a:pt x="6044" y="11098"/>
                  </a:lnTo>
                  <a:lnTo>
                    <a:pt x="5945" y="10404"/>
                  </a:lnTo>
                  <a:lnTo>
                    <a:pt x="6044" y="10008"/>
                  </a:lnTo>
                  <a:lnTo>
                    <a:pt x="6143" y="9711"/>
                  </a:lnTo>
                  <a:lnTo>
                    <a:pt x="6341" y="9413"/>
                  </a:lnTo>
                  <a:lnTo>
                    <a:pt x="6738" y="9215"/>
                  </a:lnTo>
                  <a:lnTo>
                    <a:pt x="6936" y="8918"/>
                  </a:lnTo>
                  <a:lnTo>
                    <a:pt x="7035" y="8720"/>
                  </a:lnTo>
                  <a:lnTo>
                    <a:pt x="7233" y="8522"/>
                  </a:lnTo>
                  <a:lnTo>
                    <a:pt x="7530" y="8323"/>
                  </a:lnTo>
                  <a:lnTo>
                    <a:pt x="7530" y="8224"/>
                  </a:lnTo>
                  <a:lnTo>
                    <a:pt x="7530" y="8026"/>
                  </a:lnTo>
                  <a:lnTo>
                    <a:pt x="7728" y="7729"/>
                  </a:lnTo>
                  <a:lnTo>
                    <a:pt x="8026" y="7333"/>
                  </a:lnTo>
                  <a:lnTo>
                    <a:pt x="8521" y="6342"/>
                  </a:lnTo>
                  <a:lnTo>
                    <a:pt x="8818" y="5351"/>
                  </a:lnTo>
                  <a:lnTo>
                    <a:pt x="9016" y="4658"/>
                  </a:lnTo>
                  <a:lnTo>
                    <a:pt x="9115" y="3865"/>
                  </a:lnTo>
                  <a:lnTo>
                    <a:pt x="9115" y="2379"/>
                  </a:lnTo>
                  <a:lnTo>
                    <a:pt x="9016" y="1388"/>
                  </a:lnTo>
                  <a:lnTo>
                    <a:pt x="8917" y="893"/>
                  </a:lnTo>
                  <a:lnTo>
                    <a:pt x="8818" y="397"/>
                  </a:lnTo>
                  <a:lnTo>
                    <a:pt x="8620" y="100"/>
                  </a:lnTo>
                  <a:lnTo>
                    <a:pt x="8323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3" name="Google Shape;416;p31">
              <a:extLst>
                <a:ext uri="{FF2B5EF4-FFF2-40B4-BE49-F238E27FC236}">
                  <a16:creationId xmlns:a16="http://schemas.microsoft.com/office/drawing/2014/main" id="{A8519EF4-3947-B8E7-1336-283BCF6C8B11}"/>
                </a:ext>
              </a:extLst>
            </p:cNvPr>
            <p:cNvSpPr/>
            <p:nvPr/>
          </p:nvSpPr>
          <p:spPr>
            <a:xfrm>
              <a:off x="4384042" y="1481313"/>
              <a:ext cx="377249" cy="518300"/>
            </a:xfrm>
            <a:custGeom>
              <a:avLst/>
              <a:gdLst/>
              <a:ahLst/>
              <a:cxnLst/>
              <a:rect l="l" t="t" r="r" b="b"/>
              <a:pathLst>
                <a:path w="12188" h="16745" extrusionOk="0">
                  <a:moveTo>
                    <a:pt x="5351" y="1"/>
                  </a:moveTo>
                  <a:lnTo>
                    <a:pt x="4856" y="100"/>
                  </a:lnTo>
                  <a:lnTo>
                    <a:pt x="4360" y="298"/>
                  </a:lnTo>
                  <a:lnTo>
                    <a:pt x="3468" y="1090"/>
                  </a:lnTo>
                  <a:lnTo>
                    <a:pt x="2577" y="1883"/>
                  </a:lnTo>
                  <a:lnTo>
                    <a:pt x="1388" y="3369"/>
                  </a:lnTo>
                  <a:lnTo>
                    <a:pt x="100" y="4855"/>
                  </a:lnTo>
                  <a:lnTo>
                    <a:pt x="1" y="5054"/>
                  </a:lnTo>
                  <a:lnTo>
                    <a:pt x="100" y="5351"/>
                  </a:lnTo>
                  <a:lnTo>
                    <a:pt x="992" y="6342"/>
                  </a:lnTo>
                  <a:lnTo>
                    <a:pt x="1883" y="7431"/>
                  </a:lnTo>
                  <a:lnTo>
                    <a:pt x="2180" y="7630"/>
                  </a:lnTo>
                  <a:lnTo>
                    <a:pt x="2478" y="7729"/>
                  </a:lnTo>
                  <a:lnTo>
                    <a:pt x="2775" y="7630"/>
                  </a:lnTo>
                  <a:lnTo>
                    <a:pt x="2973" y="7431"/>
                  </a:lnTo>
                  <a:lnTo>
                    <a:pt x="3568" y="6738"/>
                  </a:lnTo>
                  <a:lnTo>
                    <a:pt x="4162" y="6143"/>
                  </a:lnTo>
                  <a:lnTo>
                    <a:pt x="4162" y="5945"/>
                  </a:lnTo>
                  <a:lnTo>
                    <a:pt x="4261" y="5846"/>
                  </a:lnTo>
                  <a:lnTo>
                    <a:pt x="4360" y="5846"/>
                  </a:lnTo>
                  <a:lnTo>
                    <a:pt x="4657" y="6143"/>
                  </a:lnTo>
                  <a:lnTo>
                    <a:pt x="4657" y="6342"/>
                  </a:lnTo>
                  <a:lnTo>
                    <a:pt x="4558" y="6936"/>
                  </a:lnTo>
                  <a:lnTo>
                    <a:pt x="4558" y="7530"/>
                  </a:lnTo>
                  <a:lnTo>
                    <a:pt x="4657" y="8125"/>
                  </a:lnTo>
                  <a:lnTo>
                    <a:pt x="4558" y="8719"/>
                  </a:lnTo>
                  <a:lnTo>
                    <a:pt x="4459" y="9116"/>
                  </a:lnTo>
                  <a:lnTo>
                    <a:pt x="4459" y="9512"/>
                  </a:lnTo>
                  <a:lnTo>
                    <a:pt x="4459" y="10206"/>
                  </a:lnTo>
                  <a:lnTo>
                    <a:pt x="4360" y="11196"/>
                  </a:lnTo>
                  <a:lnTo>
                    <a:pt x="4459" y="12088"/>
                  </a:lnTo>
                  <a:lnTo>
                    <a:pt x="4459" y="12385"/>
                  </a:lnTo>
                  <a:lnTo>
                    <a:pt x="4459" y="12484"/>
                  </a:lnTo>
                  <a:lnTo>
                    <a:pt x="4063" y="12484"/>
                  </a:lnTo>
                  <a:lnTo>
                    <a:pt x="3171" y="12583"/>
                  </a:lnTo>
                  <a:lnTo>
                    <a:pt x="2180" y="12683"/>
                  </a:lnTo>
                  <a:lnTo>
                    <a:pt x="1982" y="12683"/>
                  </a:lnTo>
                  <a:lnTo>
                    <a:pt x="1784" y="12782"/>
                  </a:lnTo>
                  <a:lnTo>
                    <a:pt x="1685" y="12980"/>
                  </a:lnTo>
                  <a:lnTo>
                    <a:pt x="1586" y="13178"/>
                  </a:lnTo>
                  <a:lnTo>
                    <a:pt x="1388" y="15556"/>
                  </a:lnTo>
                  <a:lnTo>
                    <a:pt x="1388" y="16150"/>
                  </a:lnTo>
                  <a:lnTo>
                    <a:pt x="1487" y="16447"/>
                  </a:lnTo>
                  <a:lnTo>
                    <a:pt x="1784" y="16646"/>
                  </a:lnTo>
                  <a:lnTo>
                    <a:pt x="2379" y="16745"/>
                  </a:lnTo>
                  <a:lnTo>
                    <a:pt x="5252" y="16646"/>
                  </a:lnTo>
                  <a:lnTo>
                    <a:pt x="8224" y="16646"/>
                  </a:lnTo>
                  <a:lnTo>
                    <a:pt x="9116" y="16447"/>
                  </a:lnTo>
                  <a:lnTo>
                    <a:pt x="10800" y="16447"/>
                  </a:lnTo>
                  <a:lnTo>
                    <a:pt x="11395" y="16348"/>
                  </a:lnTo>
                  <a:lnTo>
                    <a:pt x="11692" y="16348"/>
                  </a:lnTo>
                  <a:lnTo>
                    <a:pt x="11791" y="16249"/>
                  </a:lnTo>
                  <a:lnTo>
                    <a:pt x="11989" y="15655"/>
                  </a:lnTo>
                  <a:lnTo>
                    <a:pt x="12088" y="15358"/>
                  </a:lnTo>
                  <a:lnTo>
                    <a:pt x="12187" y="15060"/>
                  </a:lnTo>
                  <a:lnTo>
                    <a:pt x="12088" y="14961"/>
                  </a:lnTo>
                  <a:lnTo>
                    <a:pt x="11989" y="14862"/>
                  </a:lnTo>
                  <a:lnTo>
                    <a:pt x="11890" y="14763"/>
                  </a:lnTo>
                  <a:lnTo>
                    <a:pt x="11989" y="14664"/>
                  </a:lnTo>
                  <a:lnTo>
                    <a:pt x="12187" y="14367"/>
                  </a:lnTo>
                  <a:lnTo>
                    <a:pt x="12187" y="14070"/>
                  </a:lnTo>
                  <a:lnTo>
                    <a:pt x="12187" y="13772"/>
                  </a:lnTo>
                  <a:lnTo>
                    <a:pt x="12187" y="13475"/>
                  </a:lnTo>
                  <a:lnTo>
                    <a:pt x="12187" y="13178"/>
                  </a:lnTo>
                  <a:lnTo>
                    <a:pt x="12088" y="12881"/>
                  </a:lnTo>
                  <a:lnTo>
                    <a:pt x="11890" y="12782"/>
                  </a:lnTo>
                  <a:lnTo>
                    <a:pt x="11494" y="12683"/>
                  </a:lnTo>
                  <a:lnTo>
                    <a:pt x="9710" y="12683"/>
                  </a:lnTo>
                  <a:lnTo>
                    <a:pt x="9611" y="12583"/>
                  </a:lnTo>
                  <a:lnTo>
                    <a:pt x="9512" y="12583"/>
                  </a:lnTo>
                  <a:lnTo>
                    <a:pt x="9512" y="12385"/>
                  </a:lnTo>
                  <a:lnTo>
                    <a:pt x="9314" y="9809"/>
                  </a:lnTo>
                  <a:lnTo>
                    <a:pt x="9215" y="8323"/>
                  </a:lnTo>
                  <a:lnTo>
                    <a:pt x="9215" y="7630"/>
                  </a:lnTo>
                  <a:lnTo>
                    <a:pt x="9215" y="6837"/>
                  </a:lnTo>
                  <a:lnTo>
                    <a:pt x="9314" y="6143"/>
                  </a:lnTo>
                  <a:lnTo>
                    <a:pt x="9215" y="5450"/>
                  </a:lnTo>
                  <a:lnTo>
                    <a:pt x="9215" y="3964"/>
                  </a:lnTo>
                  <a:lnTo>
                    <a:pt x="9215" y="2874"/>
                  </a:lnTo>
                  <a:lnTo>
                    <a:pt x="9116" y="1883"/>
                  </a:lnTo>
                  <a:lnTo>
                    <a:pt x="9116" y="1289"/>
                  </a:lnTo>
                  <a:lnTo>
                    <a:pt x="9215" y="1090"/>
                  </a:lnTo>
                  <a:lnTo>
                    <a:pt x="9314" y="793"/>
                  </a:lnTo>
                  <a:lnTo>
                    <a:pt x="9512" y="694"/>
                  </a:lnTo>
                  <a:lnTo>
                    <a:pt x="9512" y="595"/>
                  </a:lnTo>
                  <a:lnTo>
                    <a:pt x="9512" y="496"/>
                  </a:lnTo>
                  <a:lnTo>
                    <a:pt x="9314" y="298"/>
                  </a:lnTo>
                  <a:lnTo>
                    <a:pt x="9215" y="199"/>
                  </a:lnTo>
                  <a:lnTo>
                    <a:pt x="9116" y="100"/>
                  </a:lnTo>
                  <a:lnTo>
                    <a:pt x="7729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4" name="Google Shape;417;p31">
              <a:extLst>
                <a:ext uri="{FF2B5EF4-FFF2-40B4-BE49-F238E27FC236}">
                  <a16:creationId xmlns:a16="http://schemas.microsoft.com/office/drawing/2014/main" id="{AA73578E-00D0-4BA6-7E1A-F5FCC4ABF72D}"/>
                </a:ext>
              </a:extLst>
            </p:cNvPr>
            <p:cNvSpPr/>
            <p:nvPr/>
          </p:nvSpPr>
          <p:spPr>
            <a:xfrm>
              <a:off x="4687651" y="1429189"/>
              <a:ext cx="217751" cy="260682"/>
            </a:xfrm>
            <a:custGeom>
              <a:avLst/>
              <a:gdLst/>
              <a:ahLst/>
              <a:cxnLst/>
              <a:rect l="l" t="t" r="r" b="b"/>
              <a:pathLst>
                <a:path w="7035" h="8422" extrusionOk="0">
                  <a:moveTo>
                    <a:pt x="4360" y="2973"/>
                  </a:moveTo>
                  <a:lnTo>
                    <a:pt x="4459" y="3072"/>
                  </a:lnTo>
                  <a:lnTo>
                    <a:pt x="4558" y="3270"/>
                  </a:lnTo>
                  <a:lnTo>
                    <a:pt x="4558" y="3567"/>
                  </a:lnTo>
                  <a:lnTo>
                    <a:pt x="4459" y="3963"/>
                  </a:lnTo>
                  <a:lnTo>
                    <a:pt x="4459" y="4062"/>
                  </a:lnTo>
                  <a:lnTo>
                    <a:pt x="4261" y="4161"/>
                  </a:lnTo>
                  <a:lnTo>
                    <a:pt x="3964" y="4161"/>
                  </a:lnTo>
                  <a:lnTo>
                    <a:pt x="3666" y="4062"/>
                  </a:lnTo>
                  <a:lnTo>
                    <a:pt x="3567" y="4062"/>
                  </a:lnTo>
                  <a:lnTo>
                    <a:pt x="3468" y="4161"/>
                  </a:lnTo>
                  <a:lnTo>
                    <a:pt x="3270" y="4261"/>
                  </a:lnTo>
                  <a:lnTo>
                    <a:pt x="3171" y="4161"/>
                  </a:lnTo>
                  <a:lnTo>
                    <a:pt x="2973" y="3963"/>
                  </a:lnTo>
                  <a:lnTo>
                    <a:pt x="2874" y="3864"/>
                  </a:lnTo>
                  <a:lnTo>
                    <a:pt x="2874" y="3765"/>
                  </a:lnTo>
                  <a:lnTo>
                    <a:pt x="2973" y="3468"/>
                  </a:lnTo>
                  <a:lnTo>
                    <a:pt x="3072" y="3171"/>
                  </a:lnTo>
                  <a:lnTo>
                    <a:pt x="3270" y="2973"/>
                  </a:lnTo>
                  <a:lnTo>
                    <a:pt x="3567" y="2973"/>
                  </a:lnTo>
                  <a:lnTo>
                    <a:pt x="3864" y="3072"/>
                  </a:lnTo>
                  <a:lnTo>
                    <a:pt x="4063" y="3072"/>
                  </a:lnTo>
                  <a:lnTo>
                    <a:pt x="4261" y="2973"/>
                  </a:lnTo>
                  <a:close/>
                  <a:moveTo>
                    <a:pt x="3072" y="0"/>
                  </a:moveTo>
                  <a:lnTo>
                    <a:pt x="2775" y="198"/>
                  </a:lnTo>
                  <a:lnTo>
                    <a:pt x="2576" y="297"/>
                  </a:lnTo>
                  <a:lnTo>
                    <a:pt x="2576" y="496"/>
                  </a:lnTo>
                  <a:lnTo>
                    <a:pt x="2576" y="595"/>
                  </a:lnTo>
                  <a:lnTo>
                    <a:pt x="2576" y="793"/>
                  </a:lnTo>
                  <a:lnTo>
                    <a:pt x="2378" y="1090"/>
                  </a:lnTo>
                  <a:lnTo>
                    <a:pt x="2279" y="1387"/>
                  </a:lnTo>
                  <a:lnTo>
                    <a:pt x="2279" y="1486"/>
                  </a:lnTo>
                  <a:lnTo>
                    <a:pt x="2378" y="1685"/>
                  </a:lnTo>
                  <a:lnTo>
                    <a:pt x="2378" y="1784"/>
                  </a:lnTo>
                  <a:lnTo>
                    <a:pt x="2180" y="1883"/>
                  </a:lnTo>
                  <a:lnTo>
                    <a:pt x="991" y="1982"/>
                  </a:lnTo>
                  <a:lnTo>
                    <a:pt x="793" y="2081"/>
                  </a:lnTo>
                  <a:lnTo>
                    <a:pt x="595" y="2180"/>
                  </a:lnTo>
                  <a:lnTo>
                    <a:pt x="397" y="2378"/>
                  </a:lnTo>
                  <a:lnTo>
                    <a:pt x="397" y="2477"/>
                  </a:lnTo>
                  <a:lnTo>
                    <a:pt x="496" y="2576"/>
                  </a:lnTo>
                  <a:lnTo>
                    <a:pt x="694" y="2774"/>
                  </a:lnTo>
                  <a:lnTo>
                    <a:pt x="991" y="2973"/>
                  </a:lnTo>
                  <a:lnTo>
                    <a:pt x="1189" y="3072"/>
                  </a:lnTo>
                  <a:lnTo>
                    <a:pt x="1784" y="3072"/>
                  </a:lnTo>
                  <a:lnTo>
                    <a:pt x="1883" y="3171"/>
                  </a:lnTo>
                  <a:lnTo>
                    <a:pt x="1883" y="3270"/>
                  </a:lnTo>
                  <a:lnTo>
                    <a:pt x="1883" y="3765"/>
                  </a:lnTo>
                  <a:lnTo>
                    <a:pt x="1784" y="3963"/>
                  </a:lnTo>
                  <a:lnTo>
                    <a:pt x="1487" y="4062"/>
                  </a:lnTo>
                  <a:lnTo>
                    <a:pt x="496" y="4062"/>
                  </a:lnTo>
                  <a:lnTo>
                    <a:pt x="298" y="4161"/>
                  </a:lnTo>
                  <a:lnTo>
                    <a:pt x="199" y="4360"/>
                  </a:lnTo>
                  <a:lnTo>
                    <a:pt x="100" y="4657"/>
                  </a:lnTo>
                  <a:lnTo>
                    <a:pt x="0" y="4756"/>
                  </a:lnTo>
                  <a:lnTo>
                    <a:pt x="100" y="4855"/>
                  </a:lnTo>
                  <a:lnTo>
                    <a:pt x="199" y="5053"/>
                  </a:lnTo>
                  <a:lnTo>
                    <a:pt x="397" y="5152"/>
                  </a:lnTo>
                  <a:lnTo>
                    <a:pt x="793" y="5152"/>
                  </a:lnTo>
                  <a:lnTo>
                    <a:pt x="991" y="5251"/>
                  </a:lnTo>
                  <a:lnTo>
                    <a:pt x="1189" y="5251"/>
                  </a:lnTo>
                  <a:lnTo>
                    <a:pt x="1388" y="5152"/>
                  </a:lnTo>
                  <a:lnTo>
                    <a:pt x="1487" y="5251"/>
                  </a:lnTo>
                  <a:lnTo>
                    <a:pt x="1586" y="5251"/>
                  </a:lnTo>
                  <a:lnTo>
                    <a:pt x="1487" y="5449"/>
                  </a:lnTo>
                  <a:lnTo>
                    <a:pt x="1388" y="5648"/>
                  </a:lnTo>
                  <a:lnTo>
                    <a:pt x="1388" y="5846"/>
                  </a:lnTo>
                  <a:lnTo>
                    <a:pt x="1388" y="6242"/>
                  </a:lnTo>
                  <a:lnTo>
                    <a:pt x="1388" y="6638"/>
                  </a:lnTo>
                  <a:lnTo>
                    <a:pt x="1388" y="6936"/>
                  </a:lnTo>
                  <a:lnTo>
                    <a:pt x="1288" y="7332"/>
                  </a:lnTo>
                  <a:lnTo>
                    <a:pt x="1090" y="7629"/>
                  </a:lnTo>
                  <a:lnTo>
                    <a:pt x="1090" y="7827"/>
                  </a:lnTo>
                  <a:lnTo>
                    <a:pt x="1189" y="7827"/>
                  </a:lnTo>
                  <a:lnTo>
                    <a:pt x="1388" y="7926"/>
                  </a:lnTo>
                  <a:lnTo>
                    <a:pt x="1487" y="8026"/>
                  </a:lnTo>
                  <a:lnTo>
                    <a:pt x="1685" y="8026"/>
                  </a:lnTo>
                  <a:lnTo>
                    <a:pt x="1883" y="8125"/>
                  </a:lnTo>
                  <a:lnTo>
                    <a:pt x="2081" y="7827"/>
                  </a:lnTo>
                  <a:lnTo>
                    <a:pt x="2180" y="7530"/>
                  </a:lnTo>
                  <a:lnTo>
                    <a:pt x="2477" y="5945"/>
                  </a:lnTo>
                  <a:lnTo>
                    <a:pt x="2676" y="5549"/>
                  </a:lnTo>
                  <a:lnTo>
                    <a:pt x="2775" y="5350"/>
                  </a:lnTo>
                  <a:lnTo>
                    <a:pt x="3072" y="5251"/>
                  </a:lnTo>
                  <a:lnTo>
                    <a:pt x="3964" y="5251"/>
                  </a:lnTo>
                  <a:lnTo>
                    <a:pt x="4162" y="5350"/>
                  </a:lnTo>
                  <a:lnTo>
                    <a:pt x="4162" y="5648"/>
                  </a:lnTo>
                  <a:lnTo>
                    <a:pt x="4162" y="6044"/>
                  </a:lnTo>
                  <a:lnTo>
                    <a:pt x="3864" y="7035"/>
                  </a:lnTo>
                  <a:lnTo>
                    <a:pt x="3864" y="7530"/>
                  </a:lnTo>
                  <a:lnTo>
                    <a:pt x="3964" y="8125"/>
                  </a:lnTo>
                  <a:lnTo>
                    <a:pt x="4063" y="8323"/>
                  </a:lnTo>
                  <a:lnTo>
                    <a:pt x="4261" y="8422"/>
                  </a:lnTo>
                  <a:lnTo>
                    <a:pt x="4360" y="8323"/>
                  </a:lnTo>
                  <a:lnTo>
                    <a:pt x="4459" y="8323"/>
                  </a:lnTo>
                  <a:lnTo>
                    <a:pt x="4657" y="8026"/>
                  </a:lnTo>
                  <a:lnTo>
                    <a:pt x="4756" y="7827"/>
                  </a:lnTo>
                  <a:lnTo>
                    <a:pt x="4855" y="7629"/>
                  </a:lnTo>
                  <a:lnTo>
                    <a:pt x="5053" y="6738"/>
                  </a:lnTo>
                  <a:lnTo>
                    <a:pt x="5152" y="6242"/>
                  </a:lnTo>
                  <a:lnTo>
                    <a:pt x="5252" y="5747"/>
                  </a:lnTo>
                  <a:lnTo>
                    <a:pt x="5252" y="5449"/>
                  </a:lnTo>
                  <a:lnTo>
                    <a:pt x="5351" y="5251"/>
                  </a:lnTo>
                  <a:lnTo>
                    <a:pt x="5648" y="5152"/>
                  </a:lnTo>
                  <a:lnTo>
                    <a:pt x="6143" y="5152"/>
                  </a:lnTo>
                  <a:lnTo>
                    <a:pt x="6242" y="5053"/>
                  </a:lnTo>
                  <a:lnTo>
                    <a:pt x="6341" y="4954"/>
                  </a:lnTo>
                  <a:lnTo>
                    <a:pt x="6440" y="4756"/>
                  </a:lnTo>
                  <a:lnTo>
                    <a:pt x="6341" y="4360"/>
                  </a:lnTo>
                  <a:lnTo>
                    <a:pt x="6242" y="4261"/>
                  </a:lnTo>
                  <a:lnTo>
                    <a:pt x="6044" y="4161"/>
                  </a:lnTo>
                  <a:lnTo>
                    <a:pt x="5747" y="4161"/>
                  </a:lnTo>
                  <a:lnTo>
                    <a:pt x="5549" y="4062"/>
                  </a:lnTo>
                  <a:lnTo>
                    <a:pt x="5549" y="3963"/>
                  </a:lnTo>
                  <a:lnTo>
                    <a:pt x="5549" y="3666"/>
                  </a:lnTo>
                  <a:lnTo>
                    <a:pt x="5747" y="3369"/>
                  </a:lnTo>
                  <a:lnTo>
                    <a:pt x="6044" y="3171"/>
                  </a:lnTo>
                  <a:lnTo>
                    <a:pt x="6341" y="3072"/>
                  </a:lnTo>
                  <a:lnTo>
                    <a:pt x="6540" y="3072"/>
                  </a:lnTo>
                  <a:lnTo>
                    <a:pt x="6738" y="2973"/>
                  </a:lnTo>
                  <a:lnTo>
                    <a:pt x="7035" y="2774"/>
                  </a:lnTo>
                  <a:lnTo>
                    <a:pt x="7035" y="2675"/>
                  </a:lnTo>
                  <a:lnTo>
                    <a:pt x="7035" y="2576"/>
                  </a:lnTo>
                  <a:lnTo>
                    <a:pt x="6936" y="2180"/>
                  </a:lnTo>
                  <a:lnTo>
                    <a:pt x="6639" y="2180"/>
                  </a:lnTo>
                  <a:lnTo>
                    <a:pt x="6440" y="2081"/>
                  </a:lnTo>
                  <a:lnTo>
                    <a:pt x="6242" y="1982"/>
                  </a:lnTo>
                  <a:lnTo>
                    <a:pt x="5945" y="2081"/>
                  </a:lnTo>
                  <a:lnTo>
                    <a:pt x="5945" y="2081"/>
                  </a:lnTo>
                  <a:lnTo>
                    <a:pt x="6044" y="1585"/>
                  </a:lnTo>
                  <a:lnTo>
                    <a:pt x="6143" y="1288"/>
                  </a:lnTo>
                  <a:lnTo>
                    <a:pt x="6143" y="496"/>
                  </a:lnTo>
                  <a:lnTo>
                    <a:pt x="6044" y="297"/>
                  </a:lnTo>
                  <a:lnTo>
                    <a:pt x="5945" y="198"/>
                  </a:lnTo>
                  <a:lnTo>
                    <a:pt x="5747" y="99"/>
                  </a:lnTo>
                  <a:lnTo>
                    <a:pt x="5549" y="0"/>
                  </a:lnTo>
                  <a:lnTo>
                    <a:pt x="5450" y="99"/>
                  </a:lnTo>
                  <a:lnTo>
                    <a:pt x="5351" y="397"/>
                  </a:lnTo>
                  <a:lnTo>
                    <a:pt x="5152" y="694"/>
                  </a:lnTo>
                  <a:lnTo>
                    <a:pt x="5053" y="991"/>
                  </a:lnTo>
                  <a:lnTo>
                    <a:pt x="4954" y="1685"/>
                  </a:lnTo>
                  <a:lnTo>
                    <a:pt x="4855" y="1883"/>
                  </a:lnTo>
                  <a:lnTo>
                    <a:pt x="4756" y="1982"/>
                  </a:lnTo>
                  <a:lnTo>
                    <a:pt x="4459" y="1982"/>
                  </a:lnTo>
                  <a:lnTo>
                    <a:pt x="4162" y="1883"/>
                  </a:lnTo>
                  <a:lnTo>
                    <a:pt x="3666" y="1883"/>
                  </a:lnTo>
                  <a:lnTo>
                    <a:pt x="3369" y="1784"/>
                  </a:lnTo>
                  <a:lnTo>
                    <a:pt x="3369" y="1486"/>
                  </a:lnTo>
                  <a:lnTo>
                    <a:pt x="3567" y="991"/>
                  </a:lnTo>
                  <a:lnTo>
                    <a:pt x="3567" y="694"/>
                  </a:lnTo>
                  <a:lnTo>
                    <a:pt x="3567" y="297"/>
                  </a:lnTo>
                  <a:lnTo>
                    <a:pt x="3468" y="99"/>
                  </a:lnTo>
                  <a:lnTo>
                    <a:pt x="336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5" name="Google Shape;418;p31">
              <a:extLst>
                <a:ext uri="{FF2B5EF4-FFF2-40B4-BE49-F238E27FC236}">
                  <a16:creationId xmlns:a16="http://schemas.microsoft.com/office/drawing/2014/main" id="{6D1987CF-B6AF-E4CA-9EB6-C28ABDBD3F42}"/>
                </a:ext>
              </a:extLst>
            </p:cNvPr>
            <p:cNvSpPr/>
            <p:nvPr/>
          </p:nvSpPr>
          <p:spPr>
            <a:xfrm>
              <a:off x="4255250" y="4014369"/>
              <a:ext cx="631771" cy="598064"/>
            </a:xfrm>
            <a:custGeom>
              <a:avLst/>
              <a:gdLst/>
              <a:ahLst/>
              <a:cxnLst/>
              <a:rect l="l" t="t" r="r" b="b"/>
              <a:pathLst>
                <a:path w="20411" h="19322" extrusionOk="0">
                  <a:moveTo>
                    <a:pt x="10205" y="1091"/>
                  </a:moveTo>
                  <a:lnTo>
                    <a:pt x="10305" y="1190"/>
                  </a:lnTo>
                  <a:lnTo>
                    <a:pt x="10602" y="1487"/>
                  </a:lnTo>
                  <a:lnTo>
                    <a:pt x="10899" y="2181"/>
                  </a:lnTo>
                  <a:lnTo>
                    <a:pt x="11196" y="2775"/>
                  </a:lnTo>
                  <a:lnTo>
                    <a:pt x="11791" y="4162"/>
                  </a:lnTo>
                  <a:lnTo>
                    <a:pt x="12682" y="6243"/>
                  </a:lnTo>
                  <a:lnTo>
                    <a:pt x="12781" y="6441"/>
                  </a:lnTo>
                  <a:lnTo>
                    <a:pt x="12980" y="6540"/>
                  </a:lnTo>
                  <a:lnTo>
                    <a:pt x="13277" y="6936"/>
                  </a:lnTo>
                  <a:lnTo>
                    <a:pt x="13475" y="7036"/>
                  </a:lnTo>
                  <a:lnTo>
                    <a:pt x="13574" y="6936"/>
                  </a:lnTo>
                  <a:lnTo>
                    <a:pt x="13772" y="6738"/>
                  </a:lnTo>
                  <a:lnTo>
                    <a:pt x="18726" y="6738"/>
                  </a:lnTo>
                  <a:lnTo>
                    <a:pt x="18924" y="6837"/>
                  </a:lnTo>
                  <a:lnTo>
                    <a:pt x="19122" y="7036"/>
                  </a:lnTo>
                  <a:lnTo>
                    <a:pt x="19122" y="7135"/>
                  </a:lnTo>
                  <a:lnTo>
                    <a:pt x="19122" y="7234"/>
                  </a:lnTo>
                  <a:lnTo>
                    <a:pt x="18924" y="7432"/>
                  </a:lnTo>
                  <a:lnTo>
                    <a:pt x="18627" y="7630"/>
                  </a:lnTo>
                  <a:lnTo>
                    <a:pt x="18429" y="7828"/>
                  </a:lnTo>
                  <a:lnTo>
                    <a:pt x="18231" y="8026"/>
                  </a:lnTo>
                  <a:lnTo>
                    <a:pt x="18033" y="8125"/>
                  </a:lnTo>
                  <a:lnTo>
                    <a:pt x="17834" y="8324"/>
                  </a:lnTo>
                  <a:lnTo>
                    <a:pt x="17537" y="8522"/>
                  </a:lnTo>
                  <a:lnTo>
                    <a:pt x="17339" y="8720"/>
                  </a:lnTo>
                  <a:lnTo>
                    <a:pt x="17141" y="8918"/>
                  </a:lnTo>
                  <a:lnTo>
                    <a:pt x="16844" y="9017"/>
                  </a:lnTo>
                  <a:lnTo>
                    <a:pt x="16646" y="9314"/>
                  </a:lnTo>
                  <a:lnTo>
                    <a:pt x="16249" y="9810"/>
                  </a:lnTo>
                  <a:lnTo>
                    <a:pt x="16051" y="10008"/>
                  </a:lnTo>
                  <a:lnTo>
                    <a:pt x="15754" y="10107"/>
                  </a:lnTo>
                  <a:lnTo>
                    <a:pt x="15358" y="10602"/>
                  </a:lnTo>
                  <a:lnTo>
                    <a:pt x="14961" y="11197"/>
                  </a:lnTo>
                  <a:lnTo>
                    <a:pt x="14961" y="11395"/>
                  </a:lnTo>
                  <a:lnTo>
                    <a:pt x="14862" y="11692"/>
                  </a:lnTo>
                  <a:lnTo>
                    <a:pt x="14961" y="12188"/>
                  </a:lnTo>
                  <a:lnTo>
                    <a:pt x="15655" y="14565"/>
                  </a:lnTo>
                  <a:lnTo>
                    <a:pt x="16348" y="17141"/>
                  </a:lnTo>
                  <a:lnTo>
                    <a:pt x="16348" y="17439"/>
                  </a:lnTo>
                  <a:lnTo>
                    <a:pt x="16348" y="17538"/>
                  </a:lnTo>
                  <a:lnTo>
                    <a:pt x="15853" y="17538"/>
                  </a:lnTo>
                  <a:lnTo>
                    <a:pt x="15159" y="17141"/>
                  </a:lnTo>
                  <a:lnTo>
                    <a:pt x="14466" y="16745"/>
                  </a:lnTo>
                  <a:lnTo>
                    <a:pt x="13772" y="16349"/>
                  </a:lnTo>
                  <a:lnTo>
                    <a:pt x="13079" y="16052"/>
                  </a:lnTo>
                  <a:lnTo>
                    <a:pt x="12088" y="15655"/>
                  </a:lnTo>
                  <a:lnTo>
                    <a:pt x="11593" y="15457"/>
                  </a:lnTo>
                  <a:lnTo>
                    <a:pt x="11097" y="15160"/>
                  </a:lnTo>
                  <a:lnTo>
                    <a:pt x="10800" y="14962"/>
                  </a:lnTo>
                  <a:lnTo>
                    <a:pt x="10602" y="14863"/>
                  </a:lnTo>
                  <a:lnTo>
                    <a:pt x="10106" y="14863"/>
                  </a:lnTo>
                  <a:lnTo>
                    <a:pt x="9116" y="15160"/>
                  </a:lnTo>
                  <a:lnTo>
                    <a:pt x="8026" y="15457"/>
                  </a:lnTo>
                  <a:lnTo>
                    <a:pt x="6936" y="15953"/>
                  </a:lnTo>
                  <a:lnTo>
                    <a:pt x="5945" y="16448"/>
                  </a:lnTo>
                  <a:lnTo>
                    <a:pt x="4954" y="17042"/>
                  </a:lnTo>
                  <a:lnTo>
                    <a:pt x="4756" y="17141"/>
                  </a:lnTo>
                  <a:lnTo>
                    <a:pt x="4459" y="17241"/>
                  </a:lnTo>
                  <a:lnTo>
                    <a:pt x="4162" y="17340"/>
                  </a:lnTo>
                  <a:lnTo>
                    <a:pt x="3864" y="17538"/>
                  </a:lnTo>
                  <a:lnTo>
                    <a:pt x="3765" y="17538"/>
                  </a:lnTo>
                  <a:lnTo>
                    <a:pt x="3666" y="17439"/>
                  </a:lnTo>
                  <a:lnTo>
                    <a:pt x="3666" y="17340"/>
                  </a:lnTo>
                  <a:lnTo>
                    <a:pt x="3666" y="17241"/>
                  </a:lnTo>
                  <a:lnTo>
                    <a:pt x="3864" y="16844"/>
                  </a:lnTo>
                  <a:lnTo>
                    <a:pt x="3964" y="16349"/>
                  </a:lnTo>
                  <a:lnTo>
                    <a:pt x="4063" y="15556"/>
                  </a:lnTo>
                  <a:lnTo>
                    <a:pt x="4459" y="14565"/>
                  </a:lnTo>
                  <a:lnTo>
                    <a:pt x="4558" y="14070"/>
                  </a:lnTo>
                  <a:lnTo>
                    <a:pt x="4756" y="13575"/>
                  </a:lnTo>
                  <a:lnTo>
                    <a:pt x="4855" y="12881"/>
                  </a:lnTo>
                  <a:lnTo>
                    <a:pt x="4954" y="12485"/>
                  </a:lnTo>
                  <a:lnTo>
                    <a:pt x="5153" y="12188"/>
                  </a:lnTo>
                  <a:lnTo>
                    <a:pt x="5153" y="12088"/>
                  </a:lnTo>
                  <a:lnTo>
                    <a:pt x="5252" y="11989"/>
                  </a:lnTo>
                  <a:lnTo>
                    <a:pt x="5450" y="11890"/>
                  </a:lnTo>
                  <a:lnTo>
                    <a:pt x="5549" y="11890"/>
                  </a:lnTo>
                  <a:lnTo>
                    <a:pt x="5549" y="11692"/>
                  </a:lnTo>
                  <a:lnTo>
                    <a:pt x="5351" y="10999"/>
                  </a:lnTo>
                  <a:lnTo>
                    <a:pt x="5153" y="10602"/>
                  </a:lnTo>
                  <a:lnTo>
                    <a:pt x="4855" y="10305"/>
                  </a:lnTo>
                  <a:lnTo>
                    <a:pt x="4261" y="9810"/>
                  </a:lnTo>
                  <a:lnTo>
                    <a:pt x="3864" y="9612"/>
                  </a:lnTo>
                  <a:lnTo>
                    <a:pt x="3666" y="9314"/>
                  </a:lnTo>
                  <a:lnTo>
                    <a:pt x="3171" y="8819"/>
                  </a:lnTo>
                  <a:lnTo>
                    <a:pt x="2973" y="8621"/>
                  </a:lnTo>
                  <a:lnTo>
                    <a:pt x="2775" y="8324"/>
                  </a:lnTo>
                  <a:lnTo>
                    <a:pt x="2676" y="8224"/>
                  </a:lnTo>
                  <a:lnTo>
                    <a:pt x="2576" y="8125"/>
                  </a:lnTo>
                  <a:lnTo>
                    <a:pt x="2279" y="8026"/>
                  </a:lnTo>
                  <a:lnTo>
                    <a:pt x="1982" y="7828"/>
                  </a:lnTo>
                  <a:lnTo>
                    <a:pt x="1784" y="7531"/>
                  </a:lnTo>
                  <a:lnTo>
                    <a:pt x="1487" y="7432"/>
                  </a:lnTo>
                  <a:lnTo>
                    <a:pt x="1388" y="7234"/>
                  </a:lnTo>
                  <a:lnTo>
                    <a:pt x="1288" y="6936"/>
                  </a:lnTo>
                  <a:lnTo>
                    <a:pt x="1388" y="6837"/>
                  </a:lnTo>
                  <a:lnTo>
                    <a:pt x="1487" y="6837"/>
                  </a:lnTo>
                  <a:lnTo>
                    <a:pt x="1685" y="6738"/>
                  </a:lnTo>
                  <a:lnTo>
                    <a:pt x="3864" y="6837"/>
                  </a:lnTo>
                  <a:lnTo>
                    <a:pt x="5945" y="6738"/>
                  </a:lnTo>
                  <a:lnTo>
                    <a:pt x="6242" y="6738"/>
                  </a:lnTo>
                  <a:lnTo>
                    <a:pt x="6540" y="6837"/>
                  </a:lnTo>
                  <a:lnTo>
                    <a:pt x="6738" y="6837"/>
                  </a:lnTo>
                  <a:lnTo>
                    <a:pt x="6936" y="6738"/>
                  </a:lnTo>
                  <a:lnTo>
                    <a:pt x="7035" y="6639"/>
                  </a:lnTo>
                  <a:lnTo>
                    <a:pt x="7233" y="6639"/>
                  </a:lnTo>
                  <a:lnTo>
                    <a:pt x="7332" y="6342"/>
                  </a:lnTo>
                  <a:lnTo>
                    <a:pt x="7431" y="6144"/>
                  </a:lnTo>
                  <a:lnTo>
                    <a:pt x="7828" y="5648"/>
                  </a:lnTo>
                  <a:lnTo>
                    <a:pt x="8026" y="5351"/>
                  </a:lnTo>
                  <a:lnTo>
                    <a:pt x="8125" y="4955"/>
                  </a:lnTo>
                  <a:lnTo>
                    <a:pt x="8224" y="4559"/>
                  </a:lnTo>
                  <a:lnTo>
                    <a:pt x="8521" y="4261"/>
                  </a:lnTo>
                  <a:lnTo>
                    <a:pt x="8620" y="4063"/>
                  </a:lnTo>
                  <a:lnTo>
                    <a:pt x="8620" y="3865"/>
                  </a:lnTo>
                  <a:lnTo>
                    <a:pt x="8521" y="3469"/>
                  </a:lnTo>
                  <a:lnTo>
                    <a:pt x="8818" y="3667"/>
                  </a:lnTo>
                  <a:lnTo>
                    <a:pt x="8917" y="3469"/>
                  </a:lnTo>
                  <a:lnTo>
                    <a:pt x="8917" y="3271"/>
                  </a:lnTo>
                  <a:lnTo>
                    <a:pt x="9017" y="3072"/>
                  </a:lnTo>
                  <a:lnTo>
                    <a:pt x="9017" y="2775"/>
                  </a:lnTo>
                  <a:lnTo>
                    <a:pt x="9017" y="2577"/>
                  </a:lnTo>
                  <a:lnTo>
                    <a:pt x="8917" y="2478"/>
                  </a:lnTo>
                  <a:lnTo>
                    <a:pt x="9116" y="2478"/>
                  </a:lnTo>
                  <a:lnTo>
                    <a:pt x="9215" y="2379"/>
                  </a:lnTo>
                  <a:lnTo>
                    <a:pt x="9413" y="2082"/>
                  </a:lnTo>
                  <a:lnTo>
                    <a:pt x="9512" y="1784"/>
                  </a:lnTo>
                  <a:lnTo>
                    <a:pt x="9611" y="1586"/>
                  </a:lnTo>
                  <a:lnTo>
                    <a:pt x="9710" y="1388"/>
                  </a:lnTo>
                  <a:lnTo>
                    <a:pt x="10007" y="1091"/>
                  </a:lnTo>
                  <a:close/>
                  <a:moveTo>
                    <a:pt x="9809" y="1"/>
                  </a:moveTo>
                  <a:lnTo>
                    <a:pt x="9512" y="199"/>
                  </a:lnTo>
                  <a:lnTo>
                    <a:pt x="9116" y="893"/>
                  </a:lnTo>
                  <a:lnTo>
                    <a:pt x="8719" y="1586"/>
                  </a:lnTo>
                  <a:lnTo>
                    <a:pt x="8521" y="2082"/>
                  </a:lnTo>
                  <a:lnTo>
                    <a:pt x="8224" y="2676"/>
                  </a:lnTo>
                  <a:lnTo>
                    <a:pt x="7729" y="3667"/>
                  </a:lnTo>
                  <a:lnTo>
                    <a:pt x="7233" y="4658"/>
                  </a:lnTo>
                  <a:lnTo>
                    <a:pt x="6738" y="5648"/>
                  </a:lnTo>
                  <a:lnTo>
                    <a:pt x="6639" y="5847"/>
                  </a:lnTo>
                  <a:lnTo>
                    <a:pt x="6540" y="5946"/>
                  </a:lnTo>
                  <a:lnTo>
                    <a:pt x="6242" y="6045"/>
                  </a:lnTo>
                  <a:lnTo>
                    <a:pt x="3072" y="5946"/>
                  </a:lnTo>
                  <a:lnTo>
                    <a:pt x="2576" y="6045"/>
                  </a:lnTo>
                  <a:lnTo>
                    <a:pt x="1090" y="6045"/>
                  </a:lnTo>
                  <a:lnTo>
                    <a:pt x="595" y="6243"/>
                  </a:lnTo>
                  <a:lnTo>
                    <a:pt x="100" y="6441"/>
                  </a:lnTo>
                  <a:lnTo>
                    <a:pt x="0" y="6540"/>
                  </a:lnTo>
                  <a:lnTo>
                    <a:pt x="0" y="6738"/>
                  </a:lnTo>
                  <a:lnTo>
                    <a:pt x="199" y="7333"/>
                  </a:lnTo>
                  <a:lnTo>
                    <a:pt x="397" y="7630"/>
                  </a:lnTo>
                  <a:lnTo>
                    <a:pt x="694" y="7927"/>
                  </a:lnTo>
                  <a:lnTo>
                    <a:pt x="1586" y="8819"/>
                  </a:lnTo>
                  <a:lnTo>
                    <a:pt x="2477" y="9612"/>
                  </a:lnTo>
                  <a:lnTo>
                    <a:pt x="3369" y="10503"/>
                  </a:lnTo>
                  <a:lnTo>
                    <a:pt x="4261" y="11395"/>
                  </a:lnTo>
                  <a:lnTo>
                    <a:pt x="4459" y="11692"/>
                  </a:lnTo>
                  <a:lnTo>
                    <a:pt x="4459" y="11890"/>
                  </a:lnTo>
                  <a:lnTo>
                    <a:pt x="4360" y="12088"/>
                  </a:lnTo>
                  <a:lnTo>
                    <a:pt x="3964" y="12881"/>
                  </a:lnTo>
                  <a:lnTo>
                    <a:pt x="3765" y="13674"/>
                  </a:lnTo>
                  <a:lnTo>
                    <a:pt x="3270" y="15358"/>
                  </a:lnTo>
                  <a:lnTo>
                    <a:pt x="2874" y="16844"/>
                  </a:lnTo>
                  <a:lnTo>
                    <a:pt x="2477" y="18429"/>
                  </a:lnTo>
                  <a:lnTo>
                    <a:pt x="2477" y="18529"/>
                  </a:lnTo>
                  <a:lnTo>
                    <a:pt x="2477" y="18628"/>
                  </a:lnTo>
                  <a:lnTo>
                    <a:pt x="2676" y="18826"/>
                  </a:lnTo>
                  <a:lnTo>
                    <a:pt x="2874" y="18925"/>
                  </a:lnTo>
                  <a:lnTo>
                    <a:pt x="2973" y="19123"/>
                  </a:lnTo>
                  <a:lnTo>
                    <a:pt x="3072" y="19222"/>
                  </a:lnTo>
                  <a:lnTo>
                    <a:pt x="3369" y="19222"/>
                  </a:lnTo>
                  <a:lnTo>
                    <a:pt x="3964" y="18826"/>
                  </a:lnTo>
                  <a:lnTo>
                    <a:pt x="4657" y="18429"/>
                  </a:lnTo>
                  <a:lnTo>
                    <a:pt x="6143" y="17538"/>
                  </a:lnTo>
                  <a:lnTo>
                    <a:pt x="7729" y="16646"/>
                  </a:lnTo>
                  <a:lnTo>
                    <a:pt x="8719" y="16250"/>
                  </a:lnTo>
                  <a:lnTo>
                    <a:pt x="9116" y="15953"/>
                  </a:lnTo>
                  <a:lnTo>
                    <a:pt x="9611" y="15655"/>
                  </a:lnTo>
                  <a:lnTo>
                    <a:pt x="9908" y="15457"/>
                  </a:lnTo>
                  <a:lnTo>
                    <a:pt x="10106" y="15457"/>
                  </a:lnTo>
                  <a:lnTo>
                    <a:pt x="10305" y="15556"/>
                  </a:lnTo>
                  <a:lnTo>
                    <a:pt x="11097" y="15953"/>
                  </a:lnTo>
                  <a:lnTo>
                    <a:pt x="11791" y="16349"/>
                  </a:lnTo>
                  <a:lnTo>
                    <a:pt x="13079" y="17042"/>
                  </a:lnTo>
                  <a:lnTo>
                    <a:pt x="14268" y="17736"/>
                  </a:lnTo>
                  <a:lnTo>
                    <a:pt x="15556" y="18529"/>
                  </a:lnTo>
                  <a:lnTo>
                    <a:pt x="16844" y="19222"/>
                  </a:lnTo>
                  <a:lnTo>
                    <a:pt x="17042" y="19321"/>
                  </a:lnTo>
                  <a:lnTo>
                    <a:pt x="17240" y="19321"/>
                  </a:lnTo>
                  <a:lnTo>
                    <a:pt x="17339" y="19222"/>
                  </a:lnTo>
                  <a:lnTo>
                    <a:pt x="17537" y="18925"/>
                  </a:lnTo>
                  <a:lnTo>
                    <a:pt x="17735" y="18529"/>
                  </a:lnTo>
                  <a:lnTo>
                    <a:pt x="17735" y="18132"/>
                  </a:lnTo>
                  <a:lnTo>
                    <a:pt x="17735" y="17835"/>
                  </a:lnTo>
                  <a:lnTo>
                    <a:pt x="17438" y="16943"/>
                  </a:lnTo>
                  <a:lnTo>
                    <a:pt x="17141" y="16052"/>
                  </a:lnTo>
                  <a:lnTo>
                    <a:pt x="17042" y="15953"/>
                  </a:lnTo>
                  <a:lnTo>
                    <a:pt x="17042" y="15853"/>
                  </a:lnTo>
                  <a:lnTo>
                    <a:pt x="17042" y="15556"/>
                  </a:lnTo>
                  <a:lnTo>
                    <a:pt x="16943" y="15259"/>
                  </a:lnTo>
                  <a:lnTo>
                    <a:pt x="16844" y="15061"/>
                  </a:lnTo>
                  <a:lnTo>
                    <a:pt x="16546" y="14962"/>
                  </a:lnTo>
                  <a:lnTo>
                    <a:pt x="16745" y="14764"/>
                  </a:lnTo>
                  <a:lnTo>
                    <a:pt x="16844" y="14665"/>
                  </a:lnTo>
                  <a:lnTo>
                    <a:pt x="16745" y="14466"/>
                  </a:lnTo>
                  <a:lnTo>
                    <a:pt x="16646" y="14268"/>
                  </a:lnTo>
                  <a:lnTo>
                    <a:pt x="16546" y="14169"/>
                  </a:lnTo>
                  <a:lnTo>
                    <a:pt x="16646" y="13872"/>
                  </a:lnTo>
                  <a:lnTo>
                    <a:pt x="16546" y="13773"/>
                  </a:lnTo>
                  <a:lnTo>
                    <a:pt x="16447" y="13773"/>
                  </a:lnTo>
                  <a:lnTo>
                    <a:pt x="16348" y="13674"/>
                  </a:lnTo>
                  <a:lnTo>
                    <a:pt x="16348" y="13476"/>
                  </a:lnTo>
                  <a:lnTo>
                    <a:pt x="16447" y="13079"/>
                  </a:lnTo>
                  <a:lnTo>
                    <a:pt x="16348" y="12683"/>
                  </a:lnTo>
                  <a:lnTo>
                    <a:pt x="15952" y="11989"/>
                  </a:lnTo>
                  <a:lnTo>
                    <a:pt x="15853" y="11791"/>
                  </a:lnTo>
                  <a:lnTo>
                    <a:pt x="15853" y="11593"/>
                  </a:lnTo>
                  <a:lnTo>
                    <a:pt x="15952" y="11494"/>
                  </a:lnTo>
                  <a:lnTo>
                    <a:pt x="16546" y="10999"/>
                  </a:lnTo>
                  <a:lnTo>
                    <a:pt x="17141" y="10305"/>
                  </a:lnTo>
                  <a:lnTo>
                    <a:pt x="17834" y="9612"/>
                  </a:lnTo>
                  <a:lnTo>
                    <a:pt x="18627" y="8918"/>
                  </a:lnTo>
                  <a:lnTo>
                    <a:pt x="20014" y="7630"/>
                  </a:lnTo>
                  <a:lnTo>
                    <a:pt x="20311" y="7135"/>
                  </a:lnTo>
                  <a:lnTo>
                    <a:pt x="20410" y="6738"/>
                  </a:lnTo>
                  <a:lnTo>
                    <a:pt x="20311" y="6342"/>
                  </a:lnTo>
                  <a:lnTo>
                    <a:pt x="19915" y="6045"/>
                  </a:lnTo>
                  <a:lnTo>
                    <a:pt x="19717" y="5946"/>
                  </a:lnTo>
                  <a:lnTo>
                    <a:pt x="19420" y="5847"/>
                  </a:lnTo>
                  <a:lnTo>
                    <a:pt x="19023" y="5946"/>
                  </a:lnTo>
                  <a:lnTo>
                    <a:pt x="18033" y="5946"/>
                  </a:lnTo>
                  <a:lnTo>
                    <a:pt x="17537" y="5847"/>
                  </a:lnTo>
                  <a:lnTo>
                    <a:pt x="16249" y="5847"/>
                  </a:lnTo>
                  <a:lnTo>
                    <a:pt x="15952" y="6045"/>
                  </a:lnTo>
                  <a:lnTo>
                    <a:pt x="15655" y="5946"/>
                  </a:lnTo>
                  <a:lnTo>
                    <a:pt x="14862" y="5946"/>
                  </a:lnTo>
                  <a:lnTo>
                    <a:pt x="14565" y="5847"/>
                  </a:lnTo>
                  <a:lnTo>
                    <a:pt x="14070" y="5847"/>
                  </a:lnTo>
                  <a:lnTo>
                    <a:pt x="13871" y="5946"/>
                  </a:lnTo>
                  <a:lnTo>
                    <a:pt x="13673" y="5847"/>
                  </a:lnTo>
                  <a:lnTo>
                    <a:pt x="13574" y="5747"/>
                  </a:lnTo>
                  <a:lnTo>
                    <a:pt x="13376" y="5648"/>
                  </a:lnTo>
                  <a:lnTo>
                    <a:pt x="13475" y="5450"/>
                  </a:lnTo>
                  <a:lnTo>
                    <a:pt x="13376" y="5351"/>
                  </a:lnTo>
                  <a:lnTo>
                    <a:pt x="13178" y="5252"/>
                  </a:lnTo>
                  <a:lnTo>
                    <a:pt x="13178" y="5054"/>
                  </a:lnTo>
                  <a:lnTo>
                    <a:pt x="13178" y="4856"/>
                  </a:lnTo>
                  <a:lnTo>
                    <a:pt x="13079" y="4559"/>
                  </a:lnTo>
                  <a:lnTo>
                    <a:pt x="12781" y="4162"/>
                  </a:lnTo>
                  <a:lnTo>
                    <a:pt x="12583" y="3667"/>
                  </a:lnTo>
                  <a:lnTo>
                    <a:pt x="12385" y="3171"/>
                  </a:lnTo>
                  <a:lnTo>
                    <a:pt x="12187" y="2874"/>
                  </a:lnTo>
                  <a:lnTo>
                    <a:pt x="11989" y="2478"/>
                  </a:lnTo>
                  <a:lnTo>
                    <a:pt x="11791" y="2181"/>
                  </a:lnTo>
                  <a:lnTo>
                    <a:pt x="11692" y="1784"/>
                  </a:lnTo>
                  <a:lnTo>
                    <a:pt x="11493" y="1487"/>
                  </a:lnTo>
                  <a:lnTo>
                    <a:pt x="11295" y="1190"/>
                  </a:lnTo>
                  <a:lnTo>
                    <a:pt x="10998" y="893"/>
                  </a:lnTo>
                  <a:lnTo>
                    <a:pt x="10998" y="695"/>
                  </a:lnTo>
                  <a:lnTo>
                    <a:pt x="10899" y="496"/>
                  </a:lnTo>
                  <a:lnTo>
                    <a:pt x="10800" y="397"/>
                  </a:lnTo>
                  <a:lnTo>
                    <a:pt x="10503" y="298"/>
                  </a:lnTo>
                  <a:lnTo>
                    <a:pt x="10305" y="298"/>
                  </a:lnTo>
                  <a:lnTo>
                    <a:pt x="10106" y="199"/>
                  </a:lnTo>
                  <a:lnTo>
                    <a:pt x="9908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6" name="Google Shape;419;p31">
              <a:extLst>
                <a:ext uri="{FF2B5EF4-FFF2-40B4-BE49-F238E27FC236}">
                  <a16:creationId xmlns:a16="http://schemas.microsoft.com/office/drawing/2014/main" id="{BD7B1EDB-2A01-29B1-0D81-FB297B7AC5FF}"/>
                </a:ext>
              </a:extLst>
            </p:cNvPr>
            <p:cNvSpPr/>
            <p:nvPr/>
          </p:nvSpPr>
          <p:spPr>
            <a:xfrm>
              <a:off x="3966992" y="3683182"/>
              <a:ext cx="1205228" cy="217782"/>
            </a:xfrm>
            <a:custGeom>
              <a:avLst/>
              <a:gdLst/>
              <a:ahLst/>
              <a:cxnLst/>
              <a:rect l="l" t="t" r="r" b="b"/>
              <a:pathLst>
                <a:path w="38938" h="7036" extrusionOk="0">
                  <a:moveTo>
                    <a:pt x="16348" y="1"/>
                  </a:moveTo>
                  <a:lnTo>
                    <a:pt x="15357" y="100"/>
                  </a:lnTo>
                  <a:lnTo>
                    <a:pt x="14466" y="100"/>
                  </a:lnTo>
                  <a:lnTo>
                    <a:pt x="13574" y="199"/>
                  </a:lnTo>
                  <a:lnTo>
                    <a:pt x="10800" y="397"/>
                  </a:lnTo>
                  <a:lnTo>
                    <a:pt x="8125" y="694"/>
                  </a:lnTo>
                  <a:lnTo>
                    <a:pt x="5648" y="1090"/>
                  </a:lnTo>
                  <a:lnTo>
                    <a:pt x="4360" y="1289"/>
                  </a:lnTo>
                  <a:lnTo>
                    <a:pt x="3171" y="1586"/>
                  </a:lnTo>
                  <a:lnTo>
                    <a:pt x="1189" y="2081"/>
                  </a:lnTo>
                  <a:lnTo>
                    <a:pt x="793" y="2279"/>
                  </a:lnTo>
                  <a:lnTo>
                    <a:pt x="496" y="2577"/>
                  </a:lnTo>
                  <a:lnTo>
                    <a:pt x="396" y="2973"/>
                  </a:lnTo>
                  <a:lnTo>
                    <a:pt x="297" y="3468"/>
                  </a:lnTo>
                  <a:lnTo>
                    <a:pt x="0" y="6044"/>
                  </a:lnTo>
                  <a:lnTo>
                    <a:pt x="0" y="6342"/>
                  </a:lnTo>
                  <a:lnTo>
                    <a:pt x="0" y="6639"/>
                  </a:lnTo>
                  <a:lnTo>
                    <a:pt x="99" y="6837"/>
                  </a:lnTo>
                  <a:lnTo>
                    <a:pt x="99" y="7035"/>
                  </a:lnTo>
                  <a:lnTo>
                    <a:pt x="496" y="6936"/>
                  </a:lnTo>
                  <a:lnTo>
                    <a:pt x="991" y="6738"/>
                  </a:lnTo>
                  <a:lnTo>
                    <a:pt x="1288" y="6639"/>
                  </a:lnTo>
                  <a:lnTo>
                    <a:pt x="1684" y="6639"/>
                  </a:lnTo>
                  <a:lnTo>
                    <a:pt x="2873" y="6540"/>
                  </a:lnTo>
                  <a:lnTo>
                    <a:pt x="4062" y="6441"/>
                  </a:lnTo>
                  <a:lnTo>
                    <a:pt x="5846" y="6342"/>
                  </a:lnTo>
                  <a:lnTo>
                    <a:pt x="6837" y="6143"/>
                  </a:lnTo>
                  <a:lnTo>
                    <a:pt x="7827" y="6044"/>
                  </a:lnTo>
                  <a:lnTo>
                    <a:pt x="8818" y="5945"/>
                  </a:lnTo>
                  <a:lnTo>
                    <a:pt x="9908" y="5846"/>
                  </a:lnTo>
                  <a:lnTo>
                    <a:pt x="10899" y="5747"/>
                  </a:lnTo>
                  <a:lnTo>
                    <a:pt x="11989" y="5648"/>
                  </a:lnTo>
                  <a:lnTo>
                    <a:pt x="15555" y="5351"/>
                  </a:lnTo>
                  <a:lnTo>
                    <a:pt x="17042" y="5351"/>
                  </a:lnTo>
                  <a:lnTo>
                    <a:pt x="18627" y="5252"/>
                  </a:lnTo>
                  <a:lnTo>
                    <a:pt x="22689" y="5252"/>
                  </a:lnTo>
                  <a:lnTo>
                    <a:pt x="25166" y="5351"/>
                  </a:lnTo>
                  <a:lnTo>
                    <a:pt x="27643" y="5549"/>
                  </a:lnTo>
                  <a:lnTo>
                    <a:pt x="29228" y="5648"/>
                  </a:lnTo>
                  <a:lnTo>
                    <a:pt x="30714" y="5747"/>
                  </a:lnTo>
                  <a:lnTo>
                    <a:pt x="31804" y="5846"/>
                  </a:lnTo>
                  <a:lnTo>
                    <a:pt x="32894" y="6044"/>
                  </a:lnTo>
                  <a:lnTo>
                    <a:pt x="35074" y="6242"/>
                  </a:lnTo>
                  <a:lnTo>
                    <a:pt x="36263" y="6342"/>
                  </a:lnTo>
                  <a:lnTo>
                    <a:pt x="36857" y="6441"/>
                  </a:lnTo>
                  <a:lnTo>
                    <a:pt x="37452" y="6540"/>
                  </a:lnTo>
                  <a:lnTo>
                    <a:pt x="38046" y="6639"/>
                  </a:lnTo>
                  <a:lnTo>
                    <a:pt x="38740" y="6738"/>
                  </a:lnTo>
                  <a:lnTo>
                    <a:pt x="38839" y="6738"/>
                  </a:lnTo>
                  <a:lnTo>
                    <a:pt x="38938" y="6639"/>
                  </a:lnTo>
                  <a:lnTo>
                    <a:pt x="38839" y="6441"/>
                  </a:lnTo>
                  <a:lnTo>
                    <a:pt x="38740" y="5549"/>
                  </a:lnTo>
                  <a:lnTo>
                    <a:pt x="38640" y="4657"/>
                  </a:lnTo>
                  <a:lnTo>
                    <a:pt x="38541" y="3766"/>
                  </a:lnTo>
                  <a:lnTo>
                    <a:pt x="38442" y="2874"/>
                  </a:lnTo>
                  <a:lnTo>
                    <a:pt x="38442" y="2676"/>
                  </a:lnTo>
                  <a:lnTo>
                    <a:pt x="38244" y="2477"/>
                  </a:lnTo>
                  <a:lnTo>
                    <a:pt x="38046" y="2378"/>
                  </a:lnTo>
                  <a:lnTo>
                    <a:pt x="37848" y="2279"/>
                  </a:lnTo>
                  <a:lnTo>
                    <a:pt x="35866" y="1883"/>
                  </a:lnTo>
                  <a:lnTo>
                    <a:pt x="34876" y="1685"/>
                  </a:lnTo>
                  <a:lnTo>
                    <a:pt x="33885" y="1487"/>
                  </a:lnTo>
                  <a:lnTo>
                    <a:pt x="32696" y="1289"/>
                  </a:lnTo>
                  <a:lnTo>
                    <a:pt x="31606" y="1189"/>
                  </a:lnTo>
                  <a:lnTo>
                    <a:pt x="30516" y="1090"/>
                  </a:lnTo>
                  <a:lnTo>
                    <a:pt x="29525" y="892"/>
                  </a:lnTo>
                  <a:lnTo>
                    <a:pt x="28336" y="793"/>
                  </a:lnTo>
                  <a:lnTo>
                    <a:pt x="27346" y="694"/>
                  </a:lnTo>
                  <a:lnTo>
                    <a:pt x="26652" y="595"/>
                  </a:lnTo>
                  <a:lnTo>
                    <a:pt x="26058" y="496"/>
                  </a:lnTo>
                  <a:lnTo>
                    <a:pt x="25463" y="496"/>
                  </a:lnTo>
                  <a:lnTo>
                    <a:pt x="24770" y="397"/>
                  </a:lnTo>
                  <a:lnTo>
                    <a:pt x="23977" y="397"/>
                  </a:lnTo>
                  <a:lnTo>
                    <a:pt x="21797" y="199"/>
                  </a:lnTo>
                  <a:lnTo>
                    <a:pt x="19717" y="199"/>
                  </a:lnTo>
                  <a:lnTo>
                    <a:pt x="18528" y="100"/>
                  </a:lnTo>
                  <a:lnTo>
                    <a:pt x="17339" y="100"/>
                  </a:lnTo>
                  <a:lnTo>
                    <a:pt x="16348" y="1"/>
                  </a:lnTo>
                  <a:close/>
                </a:path>
              </a:pathLst>
            </a:custGeom>
            <a:solidFill>
              <a:srgbClr val="F5A326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7" name="Google Shape;420;p31">
              <a:extLst>
                <a:ext uri="{FF2B5EF4-FFF2-40B4-BE49-F238E27FC236}">
                  <a16:creationId xmlns:a16="http://schemas.microsoft.com/office/drawing/2014/main" id="{B3A6B9F3-4F3A-2D49-ECAC-590643F72FFD}"/>
                </a:ext>
              </a:extLst>
            </p:cNvPr>
            <p:cNvSpPr/>
            <p:nvPr/>
          </p:nvSpPr>
          <p:spPr>
            <a:xfrm>
              <a:off x="4295116" y="4048107"/>
              <a:ext cx="552038" cy="509107"/>
            </a:xfrm>
            <a:custGeom>
              <a:avLst/>
              <a:gdLst/>
              <a:ahLst/>
              <a:cxnLst/>
              <a:rect l="l" t="t" r="r" b="b"/>
              <a:pathLst>
                <a:path w="17835" h="16448" extrusionOk="0">
                  <a:moveTo>
                    <a:pt x="8719" y="1"/>
                  </a:moveTo>
                  <a:lnTo>
                    <a:pt x="8422" y="298"/>
                  </a:lnTo>
                  <a:lnTo>
                    <a:pt x="8323" y="496"/>
                  </a:lnTo>
                  <a:lnTo>
                    <a:pt x="8224" y="694"/>
                  </a:lnTo>
                  <a:lnTo>
                    <a:pt x="8125" y="992"/>
                  </a:lnTo>
                  <a:lnTo>
                    <a:pt x="7927" y="1289"/>
                  </a:lnTo>
                  <a:lnTo>
                    <a:pt x="7828" y="1388"/>
                  </a:lnTo>
                  <a:lnTo>
                    <a:pt x="7629" y="1388"/>
                  </a:lnTo>
                  <a:lnTo>
                    <a:pt x="7729" y="1487"/>
                  </a:lnTo>
                  <a:lnTo>
                    <a:pt x="7729" y="1685"/>
                  </a:lnTo>
                  <a:lnTo>
                    <a:pt x="7729" y="1982"/>
                  </a:lnTo>
                  <a:lnTo>
                    <a:pt x="7629" y="2181"/>
                  </a:lnTo>
                  <a:lnTo>
                    <a:pt x="7629" y="2379"/>
                  </a:lnTo>
                  <a:lnTo>
                    <a:pt x="7530" y="2577"/>
                  </a:lnTo>
                  <a:lnTo>
                    <a:pt x="7233" y="2379"/>
                  </a:lnTo>
                  <a:lnTo>
                    <a:pt x="7332" y="2775"/>
                  </a:lnTo>
                  <a:lnTo>
                    <a:pt x="7332" y="2973"/>
                  </a:lnTo>
                  <a:lnTo>
                    <a:pt x="7233" y="3171"/>
                  </a:lnTo>
                  <a:lnTo>
                    <a:pt x="6936" y="3469"/>
                  </a:lnTo>
                  <a:lnTo>
                    <a:pt x="6837" y="3865"/>
                  </a:lnTo>
                  <a:lnTo>
                    <a:pt x="6738" y="4261"/>
                  </a:lnTo>
                  <a:lnTo>
                    <a:pt x="6540" y="4558"/>
                  </a:lnTo>
                  <a:lnTo>
                    <a:pt x="6143" y="5054"/>
                  </a:lnTo>
                  <a:lnTo>
                    <a:pt x="6044" y="5252"/>
                  </a:lnTo>
                  <a:lnTo>
                    <a:pt x="5945" y="5549"/>
                  </a:lnTo>
                  <a:lnTo>
                    <a:pt x="5747" y="5549"/>
                  </a:lnTo>
                  <a:lnTo>
                    <a:pt x="5648" y="5648"/>
                  </a:lnTo>
                  <a:lnTo>
                    <a:pt x="5450" y="5747"/>
                  </a:lnTo>
                  <a:lnTo>
                    <a:pt x="5252" y="5747"/>
                  </a:lnTo>
                  <a:lnTo>
                    <a:pt x="4954" y="5648"/>
                  </a:lnTo>
                  <a:lnTo>
                    <a:pt x="4657" y="5648"/>
                  </a:lnTo>
                  <a:lnTo>
                    <a:pt x="2576" y="5747"/>
                  </a:lnTo>
                  <a:lnTo>
                    <a:pt x="397" y="5648"/>
                  </a:lnTo>
                  <a:lnTo>
                    <a:pt x="199" y="5747"/>
                  </a:lnTo>
                  <a:lnTo>
                    <a:pt x="100" y="5747"/>
                  </a:lnTo>
                  <a:lnTo>
                    <a:pt x="0" y="5846"/>
                  </a:lnTo>
                  <a:lnTo>
                    <a:pt x="100" y="6144"/>
                  </a:lnTo>
                  <a:lnTo>
                    <a:pt x="199" y="6342"/>
                  </a:lnTo>
                  <a:lnTo>
                    <a:pt x="496" y="6441"/>
                  </a:lnTo>
                  <a:lnTo>
                    <a:pt x="694" y="6738"/>
                  </a:lnTo>
                  <a:lnTo>
                    <a:pt x="991" y="6936"/>
                  </a:lnTo>
                  <a:lnTo>
                    <a:pt x="1288" y="7035"/>
                  </a:lnTo>
                  <a:lnTo>
                    <a:pt x="1388" y="7134"/>
                  </a:lnTo>
                  <a:lnTo>
                    <a:pt x="1487" y="7234"/>
                  </a:lnTo>
                  <a:lnTo>
                    <a:pt x="1685" y="7531"/>
                  </a:lnTo>
                  <a:lnTo>
                    <a:pt x="1883" y="7729"/>
                  </a:lnTo>
                  <a:lnTo>
                    <a:pt x="2378" y="8224"/>
                  </a:lnTo>
                  <a:lnTo>
                    <a:pt x="2576" y="8522"/>
                  </a:lnTo>
                  <a:lnTo>
                    <a:pt x="2973" y="8720"/>
                  </a:lnTo>
                  <a:lnTo>
                    <a:pt x="3567" y="9215"/>
                  </a:lnTo>
                  <a:lnTo>
                    <a:pt x="3865" y="9512"/>
                  </a:lnTo>
                  <a:lnTo>
                    <a:pt x="4063" y="9909"/>
                  </a:lnTo>
                  <a:lnTo>
                    <a:pt x="4261" y="10602"/>
                  </a:lnTo>
                  <a:lnTo>
                    <a:pt x="4261" y="10800"/>
                  </a:lnTo>
                  <a:lnTo>
                    <a:pt x="4162" y="10800"/>
                  </a:lnTo>
                  <a:lnTo>
                    <a:pt x="3964" y="10899"/>
                  </a:lnTo>
                  <a:lnTo>
                    <a:pt x="3865" y="10998"/>
                  </a:lnTo>
                  <a:lnTo>
                    <a:pt x="3865" y="11098"/>
                  </a:lnTo>
                  <a:lnTo>
                    <a:pt x="3666" y="11395"/>
                  </a:lnTo>
                  <a:lnTo>
                    <a:pt x="3567" y="11791"/>
                  </a:lnTo>
                  <a:lnTo>
                    <a:pt x="3468" y="12485"/>
                  </a:lnTo>
                  <a:lnTo>
                    <a:pt x="3270" y="12980"/>
                  </a:lnTo>
                  <a:lnTo>
                    <a:pt x="3171" y="13475"/>
                  </a:lnTo>
                  <a:lnTo>
                    <a:pt x="2775" y="14466"/>
                  </a:lnTo>
                  <a:lnTo>
                    <a:pt x="2676" y="15259"/>
                  </a:lnTo>
                  <a:lnTo>
                    <a:pt x="2576" y="15754"/>
                  </a:lnTo>
                  <a:lnTo>
                    <a:pt x="2378" y="16151"/>
                  </a:lnTo>
                  <a:lnTo>
                    <a:pt x="2378" y="16250"/>
                  </a:lnTo>
                  <a:lnTo>
                    <a:pt x="2378" y="16349"/>
                  </a:lnTo>
                  <a:lnTo>
                    <a:pt x="2477" y="16448"/>
                  </a:lnTo>
                  <a:lnTo>
                    <a:pt x="2576" y="16448"/>
                  </a:lnTo>
                  <a:lnTo>
                    <a:pt x="2874" y="16250"/>
                  </a:lnTo>
                  <a:lnTo>
                    <a:pt x="3171" y="16151"/>
                  </a:lnTo>
                  <a:lnTo>
                    <a:pt x="3468" y="16051"/>
                  </a:lnTo>
                  <a:lnTo>
                    <a:pt x="3666" y="15952"/>
                  </a:lnTo>
                  <a:lnTo>
                    <a:pt x="4657" y="15358"/>
                  </a:lnTo>
                  <a:lnTo>
                    <a:pt x="5648" y="14863"/>
                  </a:lnTo>
                  <a:lnTo>
                    <a:pt x="6738" y="14367"/>
                  </a:lnTo>
                  <a:lnTo>
                    <a:pt x="7828" y="14070"/>
                  </a:lnTo>
                  <a:lnTo>
                    <a:pt x="8818" y="13773"/>
                  </a:lnTo>
                  <a:lnTo>
                    <a:pt x="9314" y="13773"/>
                  </a:lnTo>
                  <a:lnTo>
                    <a:pt x="9512" y="13872"/>
                  </a:lnTo>
                  <a:lnTo>
                    <a:pt x="9809" y="14070"/>
                  </a:lnTo>
                  <a:lnTo>
                    <a:pt x="10305" y="14367"/>
                  </a:lnTo>
                  <a:lnTo>
                    <a:pt x="10800" y="14565"/>
                  </a:lnTo>
                  <a:lnTo>
                    <a:pt x="11791" y="14962"/>
                  </a:lnTo>
                  <a:lnTo>
                    <a:pt x="12484" y="15259"/>
                  </a:lnTo>
                  <a:lnTo>
                    <a:pt x="13178" y="15655"/>
                  </a:lnTo>
                  <a:lnTo>
                    <a:pt x="13871" y="16051"/>
                  </a:lnTo>
                  <a:lnTo>
                    <a:pt x="14565" y="16448"/>
                  </a:lnTo>
                  <a:lnTo>
                    <a:pt x="15060" y="16448"/>
                  </a:lnTo>
                  <a:lnTo>
                    <a:pt x="15060" y="16349"/>
                  </a:lnTo>
                  <a:lnTo>
                    <a:pt x="15060" y="16051"/>
                  </a:lnTo>
                  <a:lnTo>
                    <a:pt x="14367" y="13475"/>
                  </a:lnTo>
                  <a:lnTo>
                    <a:pt x="13673" y="11098"/>
                  </a:lnTo>
                  <a:lnTo>
                    <a:pt x="13574" y="10602"/>
                  </a:lnTo>
                  <a:lnTo>
                    <a:pt x="13673" y="10305"/>
                  </a:lnTo>
                  <a:lnTo>
                    <a:pt x="13673" y="10107"/>
                  </a:lnTo>
                  <a:lnTo>
                    <a:pt x="14070" y="9512"/>
                  </a:lnTo>
                  <a:lnTo>
                    <a:pt x="14466" y="9017"/>
                  </a:lnTo>
                  <a:lnTo>
                    <a:pt x="14763" y="8918"/>
                  </a:lnTo>
                  <a:lnTo>
                    <a:pt x="14961" y="8720"/>
                  </a:lnTo>
                  <a:lnTo>
                    <a:pt x="15358" y="8224"/>
                  </a:lnTo>
                  <a:lnTo>
                    <a:pt x="15556" y="7927"/>
                  </a:lnTo>
                  <a:lnTo>
                    <a:pt x="15853" y="7828"/>
                  </a:lnTo>
                  <a:lnTo>
                    <a:pt x="16051" y="7630"/>
                  </a:lnTo>
                  <a:lnTo>
                    <a:pt x="16249" y="7432"/>
                  </a:lnTo>
                  <a:lnTo>
                    <a:pt x="16546" y="7234"/>
                  </a:lnTo>
                  <a:lnTo>
                    <a:pt x="16745" y="7035"/>
                  </a:lnTo>
                  <a:lnTo>
                    <a:pt x="16943" y="6936"/>
                  </a:lnTo>
                  <a:lnTo>
                    <a:pt x="17141" y="6738"/>
                  </a:lnTo>
                  <a:lnTo>
                    <a:pt x="17339" y="6540"/>
                  </a:lnTo>
                  <a:lnTo>
                    <a:pt x="17636" y="6342"/>
                  </a:lnTo>
                  <a:lnTo>
                    <a:pt x="17834" y="6144"/>
                  </a:lnTo>
                  <a:lnTo>
                    <a:pt x="17834" y="6045"/>
                  </a:lnTo>
                  <a:lnTo>
                    <a:pt x="17834" y="5946"/>
                  </a:lnTo>
                  <a:lnTo>
                    <a:pt x="17636" y="5747"/>
                  </a:lnTo>
                  <a:lnTo>
                    <a:pt x="17438" y="5648"/>
                  </a:lnTo>
                  <a:lnTo>
                    <a:pt x="12484" y="5648"/>
                  </a:lnTo>
                  <a:lnTo>
                    <a:pt x="12286" y="5846"/>
                  </a:lnTo>
                  <a:lnTo>
                    <a:pt x="12187" y="5946"/>
                  </a:lnTo>
                  <a:lnTo>
                    <a:pt x="11989" y="5846"/>
                  </a:lnTo>
                  <a:lnTo>
                    <a:pt x="11692" y="5450"/>
                  </a:lnTo>
                  <a:lnTo>
                    <a:pt x="11493" y="5351"/>
                  </a:lnTo>
                  <a:lnTo>
                    <a:pt x="11394" y="5153"/>
                  </a:lnTo>
                  <a:lnTo>
                    <a:pt x="10503" y="3072"/>
                  </a:lnTo>
                  <a:lnTo>
                    <a:pt x="9908" y="1685"/>
                  </a:lnTo>
                  <a:lnTo>
                    <a:pt x="9611" y="1091"/>
                  </a:lnTo>
                  <a:lnTo>
                    <a:pt x="9314" y="397"/>
                  </a:lnTo>
                  <a:lnTo>
                    <a:pt x="9017" y="100"/>
                  </a:lnTo>
                  <a:lnTo>
                    <a:pt x="8917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8" name="Google Shape;433;p31">
              <a:extLst>
                <a:ext uri="{FF2B5EF4-FFF2-40B4-BE49-F238E27FC236}">
                  <a16:creationId xmlns:a16="http://schemas.microsoft.com/office/drawing/2014/main" id="{D0853284-9A6E-4327-D8EF-B72F891B1F3E}"/>
                </a:ext>
              </a:extLst>
            </p:cNvPr>
            <p:cNvSpPr/>
            <p:nvPr/>
          </p:nvSpPr>
          <p:spPr>
            <a:xfrm rot="16200000" flipH="1">
              <a:off x="4543766" y="3069869"/>
              <a:ext cx="57840" cy="3261672"/>
            </a:xfrm>
            <a:custGeom>
              <a:avLst/>
              <a:gdLst/>
              <a:ahLst/>
              <a:cxnLst/>
              <a:rect l="l" t="t" r="r" b="b"/>
              <a:pathLst>
                <a:path w="595" h="21105" extrusionOk="0">
                  <a:moveTo>
                    <a:pt x="396" y="1"/>
                  </a:moveTo>
                  <a:lnTo>
                    <a:pt x="297" y="100"/>
                  </a:lnTo>
                  <a:lnTo>
                    <a:pt x="198" y="2676"/>
                  </a:lnTo>
                  <a:lnTo>
                    <a:pt x="99" y="5351"/>
                  </a:lnTo>
                  <a:lnTo>
                    <a:pt x="99" y="10503"/>
                  </a:lnTo>
                  <a:lnTo>
                    <a:pt x="99" y="15754"/>
                  </a:lnTo>
                  <a:lnTo>
                    <a:pt x="99" y="18330"/>
                  </a:lnTo>
                  <a:lnTo>
                    <a:pt x="0" y="20906"/>
                  </a:lnTo>
                  <a:lnTo>
                    <a:pt x="99" y="21104"/>
                  </a:lnTo>
                  <a:lnTo>
                    <a:pt x="396" y="21104"/>
                  </a:lnTo>
                  <a:lnTo>
                    <a:pt x="495" y="20906"/>
                  </a:lnTo>
                  <a:lnTo>
                    <a:pt x="594" y="18231"/>
                  </a:lnTo>
                  <a:lnTo>
                    <a:pt x="594" y="15556"/>
                  </a:lnTo>
                  <a:lnTo>
                    <a:pt x="495" y="10107"/>
                  </a:lnTo>
                  <a:lnTo>
                    <a:pt x="495" y="7927"/>
                  </a:lnTo>
                  <a:lnTo>
                    <a:pt x="594" y="5747"/>
                  </a:lnTo>
                  <a:lnTo>
                    <a:pt x="594" y="4459"/>
                  </a:lnTo>
                  <a:lnTo>
                    <a:pt x="594" y="3072"/>
                  </a:lnTo>
                  <a:lnTo>
                    <a:pt x="594" y="1586"/>
                  </a:lnTo>
                  <a:lnTo>
                    <a:pt x="594" y="793"/>
                  </a:lnTo>
                  <a:lnTo>
                    <a:pt x="594" y="100"/>
                  </a:lnTo>
                  <a:lnTo>
                    <a:pt x="495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74EE0D3-EDA5-E4F1-EDBD-3032C63B8A31}"/>
              </a:ext>
            </a:extLst>
          </p:cNvPr>
          <p:cNvSpPr txBox="1"/>
          <p:nvPr/>
        </p:nvSpPr>
        <p:spPr>
          <a:xfrm>
            <a:off x="336884" y="385598"/>
            <a:ext cx="4475747" cy="4770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500" dirty="0">
                <a:latin typeface="Aptos Display"/>
                <a:cs typeface="Arial"/>
              </a:rPr>
              <a:t>ESSI Annual Conference Award</a:t>
            </a:r>
            <a:endParaRPr lang="en-US" sz="2500" dirty="0">
              <a:latin typeface="Aptos Display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D47B54-5CB9-625A-05E3-70AD7C5C08B8}"/>
              </a:ext>
            </a:extLst>
          </p:cNvPr>
          <p:cNvSpPr txBox="1"/>
          <p:nvPr/>
        </p:nvSpPr>
        <p:spPr>
          <a:xfrm>
            <a:off x="311518" y="5462961"/>
            <a:ext cx="8534398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q"/>
            </a:pPr>
            <a:r>
              <a:rPr lang="en-US" sz="2000" dirty="0">
                <a:latin typeface="Aptos Display"/>
                <a:cs typeface="Arial"/>
              </a:rPr>
              <a:t>Hospital-level and Patient-level Data Submission: June - August </a:t>
            </a:r>
          </a:p>
          <a:p>
            <a:pPr marL="285750" indent="-285750">
              <a:buFont typeface="Wingdings"/>
              <a:buChar char="q"/>
            </a:pPr>
            <a:r>
              <a:rPr lang="en-US" sz="2000" dirty="0">
                <a:latin typeface="Aptos Display"/>
                <a:cs typeface="Arial"/>
              </a:rPr>
              <a:t>Webinar Attendance*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31FD23-E8F9-4EDB-9CBC-35B23F98564A}"/>
              </a:ext>
            </a:extLst>
          </p:cNvPr>
          <p:cNvSpPr txBox="1"/>
          <p:nvPr/>
        </p:nvSpPr>
        <p:spPr>
          <a:xfrm>
            <a:off x="336884" y="6180712"/>
            <a:ext cx="9777880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latin typeface="Aptos Display"/>
                <a:cs typeface="Arial"/>
              </a:rPr>
              <a:t>* </a:t>
            </a:r>
            <a:r>
              <a:rPr lang="en-US" sz="1300" i="1" dirty="0">
                <a:latin typeface="Aptos Display"/>
                <a:cs typeface="Arial"/>
              </a:rPr>
              <a:t>At least one member from ESSI Team engaged in monthly webinars from March-Septembe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B193B8C-9B4B-0692-3232-0410817162CA}"/>
              </a:ext>
            </a:extLst>
          </p:cNvPr>
          <p:cNvSpPr txBox="1"/>
          <p:nvPr/>
        </p:nvSpPr>
        <p:spPr>
          <a:xfrm>
            <a:off x="9662344" y="3242963"/>
            <a:ext cx="1606254" cy="400110"/>
          </a:xfrm>
          <a:prstGeom prst="rect">
            <a:avLst/>
          </a:prstGeom>
          <a:solidFill>
            <a:schemeClr val="bg1"/>
          </a:solidFill>
          <a:ln>
            <a:solidFill>
              <a:srgbClr val="F0678F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dirty="0">
                <a:solidFill>
                  <a:srgbClr val="F0678F"/>
                </a:solidFill>
                <a:latin typeface="Aptos Display"/>
                <a:cs typeface="Arial"/>
              </a:rPr>
              <a:t>3 /4 in place!</a:t>
            </a:r>
          </a:p>
        </p:txBody>
      </p:sp>
    </p:spTree>
    <p:extLst>
      <p:ext uri="{BB962C8B-B14F-4D97-AF65-F5344CB8AC3E}">
        <p14:creationId xmlns:p14="http://schemas.microsoft.com/office/powerpoint/2010/main" val="311426573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267" y="606414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latin typeface="DM Sans"/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43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742BC3D-6CDA-121F-6028-CA1546518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8368D356-AA78-0044-7D99-8A3664F513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84482925"/>
              </p:ext>
            </p:extLst>
          </p:nvPr>
        </p:nvGraphicFramePr>
        <p:xfrm>
          <a:off x="838200" y="1825625"/>
          <a:ext cx="10515600" cy="274510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1671499887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1139397189"/>
                    </a:ext>
                  </a:extLst>
                </a:gridCol>
              </a:tblGrid>
              <a:tr h="942975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/>
                        </a:rPr>
                        <a:t>Date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  <a:latin typeface="DM San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/>
                        </a:rPr>
                        <a:t>Topic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  <a:latin typeface="DM San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473551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September 16th, 2024</a:t>
                      </a:r>
                    </a:p>
                  </a:txBody>
                  <a:tcPr>
                    <a:lnL w="9524">
                      <a:solidFill>
                        <a:srgbClr val="FFFFFF"/>
                      </a:solidFill>
                    </a:lnL>
                    <a:lnR w="952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SDOH Screening and Implementation into EMR</a:t>
                      </a:r>
                    </a:p>
                  </a:txBody>
                  <a:tcPr anchor="ctr">
                    <a:lnL w="952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70654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October 30th, 2024</a:t>
                      </a:r>
                    </a:p>
                  </a:txBody>
                  <a:tcPr>
                    <a:lnL w="9524">
                      <a:solidFill>
                        <a:srgbClr val="FFFFFF"/>
                      </a:solidFill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FFFFFF"/>
                      </a:solidFill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Annual Conference</a:t>
                      </a:r>
                    </a:p>
                  </a:txBody>
                  <a:tcPr anchor="ctr">
                    <a:lnL w="9524">
                      <a:solidFill>
                        <a:srgbClr val="FFFFFF"/>
                      </a:solidFill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FFFFFF"/>
                      </a:solidFill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1177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44</a:t>
            </a:fld>
            <a:endParaRPr/>
          </a:p>
        </p:txBody>
      </p:sp>
      <p:sp>
        <p:nvSpPr>
          <p:cNvPr id="12728" name="Google Shape;12728;p1192"/>
          <p:cNvSpPr/>
          <p:nvPr/>
        </p:nvSpPr>
        <p:spPr>
          <a:xfrm>
            <a:off x="6789513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0BDAA27-2B2B-7C1B-EFFA-E96DF2430B73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2" name="Picture 1" descr="A text on a black background&#10;&#10;Description automatically generated">
            <a:extLst>
              <a:ext uri="{FF2B5EF4-FFF2-40B4-BE49-F238E27FC236}">
                <a16:creationId xmlns:a16="http://schemas.microsoft.com/office/drawing/2014/main" id="{D0575878-0118-6365-B65E-443B258D86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8528" y="2764"/>
            <a:ext cx="12315566" cy="688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648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grid with white squares&#10;&#10;Description automatically generated">
            <a:extLst>
              <a:ext uri="{FF2B5EF4-FFF2-40B4-BE49-F238E27FC236}">
                <a16:creationId xmlns:a16="http://schemas.microsoft.com/office/drawing/2014/main" id="{0C9EB722-627E-C2D1-C3F2-3B71B084D4C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561" y="-46462"/>
            <a:ext cx="12619462" cy="6904463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883840-FDEC-E449-F7BA-E78CCEC4D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250" y="57789"/>
            <a:ext cx="10972800" cy="1325563"/>
          </a:xfrm>
        </p:spPr>
        <p:txBody>
          <a:bodyPr/>
          <a:lstStyle/>
          <a:p>
            <a:r>
              <a:rPr lang="en-US" b="1">
                <a:solidFill>
                  <a:srgbClr val="1C498B"/>
                </a:solidFill>
                <a:ea typeface="+mj-lt"/>
                <a:cs typeface="+mj-lt"/>
              </a:rPr>
              <a:t>ESSI ABP MOC Part IV </a:t>
            </a:r>
            <a:endParaRPr lang="en-US" b="1">
              <a:solidFill>
                <a:srgbClr val="1C498B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6C49D-BF42-418D-9693-93ADFAD52C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53248"/>
            <a:ext cx="846652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Complete an attestation form if you are an ABP-certified physician seeking </a:t>
            </a:r>
            <a:r>
              <a:rPr lang="en-US" sz="2200">
                <a:highlight>
                  <a:srgbClr val="FFFF00"/>
                </a:highlight>
                <a:ea typeface="+mn-lt"/>
                <a:cs typeface="+mn-lt"/>
              </a:rPr>
              <a:t>25 credits</a:t>
            </a:r>
            <a:r>
              <a:rPr lang="en-US" sz="2200">
                <a:ea typeface="+mn-lt"/>
                <a:cs typeface="+mn-lt"/>
              </a:rPr>
              <a:t> under </a:t>
            </a:r>
            <a:r>
              <a:rPr lang="en-US" sz="2200" b="1">
                <a:ea typeface="+mn-lt"/>
                <a:cs typeface="+mn-lt"/>
              </a:rPr>
              <a:t>MOC Part IV</a:t>
            </a:r>
            <a:endParaRPr lang="en-US" sz="2200" b="1"/>
          </a:p>
          <a:p>
            <a:r>
              <a:rPr lang="en-US" sz="2200">
                <a:ea typeface="+mn-lt"/>
                <a:cs typeface="+mn-lt"/>
              </a:rPr>
              <a:t>Submit the attestation form to your QI project leader for signature and send back to </a:t>
            </a:r>
            <a:r>
              <a:rPr lang="en-US" sz="2200">
                <a:ea typeface="+mn-lt"/>
                <a:cs typeface="+mn-lt"/>
                <a:hlinkClick r:id="rId3"/>
              </a:rPr>
              <a:t>info@ilpqc.org</a:t>
            </a:r>
            <a:r>
              <a:rPr lang="en-US" sz="2200">
                <a:ea typeface="+mn-lt"/>
                <a:cs typeface="+mn-lt"/>
              </a:rPr>
              <a:t> for credit in 2024 </a:t>
            </a:r>
            <a:endParaRPr lang="en-US" sz="2200"/>
          </a:p>
          <a:p>
            <a:r>
              <a:rPr lang="en-US" sz="2200" i="1">
                <a:ea typeface="+mn-lt"/>
                <a:cs typeface="+mn-lt"/>
              </a:rPr>
              <a:t>You can start submitting the attestation form in October. </a:t>
            </a:r>
          </a:p>
          <a:p>
            <a:pPr marL="0" indent="0">
              <a:buNone/>
            </a:pPr>
            <a:endParaRPr lang="en-US" sz="2200">
              <a:ea typeface="+mn-lt"/>
              <a:cs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Attestation of Meaningful Participation:</a:t>
            </a:r>
            <a:endParaRPr lang="en-US" sz="220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Intellectually engaged in planning and executing the project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Participated in implementing the project’s interventions - the changes designed to improve care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Regularly reviewed data in keeping with the project’s measurement plan</a:t>
            </a:r>
            <a:endParaRPr lang="en-US" sz="2200"/>
          </a:p>
          <a:p>
            <a:pPr lvl="1"/>
            <a:r>
              <a:rPr lang="en-US" sz="2200">
                <a:ea typeface="+mn-lt"/>
                <a:cs typeface="+mn-lt"/>
              </a:rPr>
              <a:t>Collaborated in the activity by attending team meetings </a:t>
            </a:r>
            <a:endParaRPr lang="en-US" sz="2200"/>
          </a:p>
          <a:p>
            <a:endParaRPr lang="en-US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F35830-C5FE-E5C4-C61D-410AD9C7A3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8B19A-05AA-8C14-5B7B-8A35C6FAC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6" descr="Doctor holding sign">
            <a:extLst>
              <a:ext uri="{FF2B5EF4-FFF2-40B4-BE49-F238E27FC236}">
                <a16:creationId xmlns:a16="http://schemas.microsoft.com/office/drawing/2014/main" id="{C8696215-900E-969A-3473-1717E6CDA9C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3207" y="1894043"/>
            <a:ext cx="2994102" cy="4253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6805E0-89D4-BF27-D15D-32B88E416414}"/>
              </a:ext>
            </a:extLst>
          </p:cNvPr>
          <p:cNvSpPr txBox="1"/>
          <p:nvPr/>
        </p:nvSpPr>
        <p:spPr>
          <a:xfrm>
            <a:off x="9171578" y="3192566"/>
            <a:ext cx="222095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latin typeface="Cavolini"/>
                <a:cs typeface="Calibri"/>
              </a:rPr>
              <a:t>Claim your credits!</a:t>
            </a:r>
            <a:endParaRPr lang="en-US" sz="2400">
              <a:latin typeface="Cavolin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3543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6"/>
          <p:cNvSpPr txBox="1">
            <a:spLocks noGrp="1"/>
          </p:cNvSpPr>
          <p:nvPr>
            <p:ph type="sldNum" sz="quarter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EB3B7"/>
                </a:buClr>
                <a:buSzPts val="1200"/>
                <a:buFont typeface="Calibri"/>
                <a:buNone/>
                <a:tabLst/>
                <a:defRPr/>
              </a:pPr>
              <a:t>6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368;p16">
            <a:extLst>
              <a:ext uri="{FF2B5EF4-FFF2-40B4-BE49-F238E27FC236}">
                <a16:creationId xmlns:a16="http://schemas.microsoft.com/office/drawing/2014/main" id="{4861B0C5-5C0A-19EB-150E-E95303EA0BBC}"/>
              </a:ext>
            </a:extLst>
          </p:cNvPr>
          <p:cNvSpPr txBox="1">
            <a:spLocks/>
          </p:cNvSpPr>
          <p:nvPr/>
        </p:nvSpPr>
        <p:spPr>
          <a:xfrm>
            <a:off x="8194273" y="3911660"/>
            <a:ext cx="4402346" cy="132556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 sz="2600" dirty="0">
                <a:solidFill>
                  <a:schemeClr val="accent3"/>
                </a:solidFill>
                <a:ea typeface="Lato Medium"/>
                <a:cs typeface="Lato Medium"/>
              </a:rPr>
              <a:t>The Westin Lombard</a:t>
            </a:r>
            <a:endParaRPr lang="en-US" sz="2600" dirty="0">
              <a:solidFill>
                <a:schemeClr val="accent3"/>
              </a:solidFill>
            </a:endParaRPr>
          </a:p>
          <a:p>
            <a:pPr algn="ctr">
              <a:spcBef>
                <a:spcPts val="0"/>
              </a:spcBef>
            </a:pPr>
            <a:r>
              <a:rPr lang="en-US" sz="2600" dirty="0">
                <a:solidFill>
                  <a:schemeClr val="accent3"/>
                </a:solidFill>
                <a:ea typeface="Lato Medium"/>
                <a:cs typeface="Lato Medium"/>
              </a:rPr>
              <a:t>Hotel Room Block</a:t>
            </a:r>
            <a:br>
              <a:rPr lang="en-US" sz="2600" dirty="0">
                <a:solidFill>
                  <a:schemeClr val="accent3"/>
                </a:solidFill>
                <a:ea typeface="Lato Medium"/>
                <a:cs typeface="Lato Medium"/>
              </a:rPr>
            </a:br>
            <a:r>
              <a:rPr lang="en-US" sz="2600" dirty="0">
                <a:solidFill>
                  <a:schemeClr val="accent3"/>
                </a:solidFill>
                <a:ea typeface="Lato Medium"/>
                <a:cs typeface="Lato Medium"/>
              </a:rPr>
              <a:t>Coming Soon!</a:t>
            </a:r>
            <a:endParaRPr lang="en-US" sz="2600" dirty="0">
              <a:solidFill>
                <a:schemeClr val="accent3"/>
              </a:solidFill>
            </a:endParaRPr>
          </a:p>
        </p:txBody>
      </p:sp>
      <p:sp>
        <p:nvSpPr>
          <p:cNvPr id="368" name="Google Shape;368;p16"/>
          <p:cNvSpPr txBox="1">
            <a:spLocks noGrp="1"/>
          </p:cNvSpPr>
          <p:nvPr>
            <p:ph type="title" idx="4294967295"/>
          </p:nvPr>
        </p:nvSpPr>
        <p:spPr>
          <a:xfrm>
            <a:off x="8524951" y="2114695"/>
            <a:ext cx="3740990" cy="1325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algn="ctr"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4400" dirty="0">
                <a:solidFill>
                  <a:schemeClr val="tx1"/>
                </a:solidFill>
                <a:ea typeface="Lato Medium"/>
                <a:cs typeface="Lato Medium"/>
              </a:rPr>
              <a:t>Registration </a:t>
            </a:r>
            <a:br>
              <a:rPr lang="en-US" sz="4400" dirty="0">
                <a:solidFill>
                  <a:schemeClr val="tx1"/>
                </a:solidFill>
                <a:ea typeface="Lato Medium"/>
                <a:cs typeface="Lato Medium"/>
              </a:rPr>
            </a:br>
            <a:r>
              <a:rPr lang="en-US" sz="4400" dirty="0">
                <a:solidFill>
                  <a:schemeClr val="tx1"/>
                </a:solidFill>
                <a:ea typeface="Lato Medium"/>
                <a:cs typeface="Lato Medium"/>
              </a:rPr>
              <a:t>Coming Soon!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1171888"/>
            <a:ext cx="8078920" cy="4536737"/>
          </a:xfrm>
          <a:prstGeom prst="rect">
            <a:avLst/>
          </a:prstGeom>
        </p:spPr>
      </p:pic>
      <p:pic>
        <p:nvPicPr>
          <p:cNvPr id="9" name="Picture 8" descr="Pumpkin PNG Transparent Images | PNG All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0133" y="5111454"/>
            <a:ext cx="950219" cy="818550"/>
          </a:xfrm>
          <a:prstGeom prst="rect">
            <a:avLst/>
          </a:prstGeom>
        </p:spPr>
      </p:pic>
      <p:pic>
        <p:nvPicPr>
          <p:cNvPr id="10" name="Picture 9" descr="Pumpkin PNG Transparent Images | PNG All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3782" y="948998"/>
            <a:ext cx="950219" cy="8185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3194FC7-204E-107F-23FB-A58A3461F076}"/>
              </a:ext>
            </a:extLst>
          </p:cNvPr>
          <p:cNvSpPr txBox="1"/>
          <p:nvPr/>
        </p:nvSpPr>
        <p:spPr>
          <a:xfrm>
            <a:off x="1071552" y="5832882"/>
            <a:ext cx="10510848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b="1" dirty="0">
                <a:ea typeface="Calibri"/>
                <a:cs typeface="Calibri"/>
              </a:rPr>
              <a:t>Make sure at least </a:t>
            </a:r>
            <a:r>
              <a:rPr lang="en-US" sz="2800" b="1" dirty="0">
                <a:solidFill>
                  <a:schemeClr val="accent3"/>
                </a:solidFill>
                <a:ea typeface="Calibri"/>
                <a:cs typeface="Calibri"/>
              </a:rPr>
              <a:t>one </a:t>
            </a:r>
            <a:r>
              <a:rPr lang="en-US" sz="2800" b="1" i="1" dirty="0">
                <a:solidFill>
                  <a:schemeClr val="accent3"/>
                </a:solidFill>
                <a:ea typeface="Calibri"/>
                <a:cs typeface="Calibri"/>
              </a:rPr>
              <a:t>physician champion</a:t>
            </a:r>
            <a:r>
              <a:rPr lang="en-US" sz="2800" b="1" dirty="0">
                <a:ea typeface="Calibri"/>
                <a:cs typeface="Calibri"/>
              </a:rPr>
              <a:t>, </a:t>
            </a:r>
            <a:r>
              <a:rPr lang="en-US" sz="2800" b="1" dirty="0">
                <a:solidFill>
                  <a:schemeClr val="accent3"/>
                </a:solidFill>
                <a:ea typeface="Calibri"/>
                <a:cs typeface="Calibri"/>
              </a:rPr>
              <a:t>one </a:t>
            </a:r>
            <a:r>
              <a:rPr lang="en-US" sz="2800" b="1" i="1" dirty="0">
                <a:solidFill>
                  <a:schemeClr val="accent3"/>
                </a:solidFill>
                <a:ea typeface="Calibri"/>
                <a:cs typeface="Calibri"/>
              </a:rPr>
              <a:t>nurse champion</a:t>
            </a:r>
            <a:r>
              <a:rPr lang="en-US" sz="2800" b="1" dirty="0">
                <a:ea typeface="Calibri"/>
                <a:cs typeface="Calibri"/>
              </a:rPr>
              <a:t>, and </a:t>
            </a:r>
            <a:r>
              <a:rPr lang="en-US" sz="2800" b="1" dirty="0">
                <a:solidFill>
                  <a:schemeClr val="accent3"/>
                </a:solidFill>
                <a:ea typeface="Calibri"/>
                <a:cs typeface="Calibri"/>
              </a:rPr>
              <a:t>a </a:t>
            </a:r>
            <a:r>
              <a:rPr lang="en-US" sz="2800" b="1" i="1" dirty="0">
                <a:solidFill>
                  <a:schemeClr val="accent3"/>
                </a:solidFill>
                <a:ea typeface="Calibri"/>
                <a:cs typeface="Calibri"/>
              </a:rPr>
              <a:t>patient partner</a:t>
            </a:r>
            <a:r>
              <a:rPr lang="en-US" sz="2800" b="1" i="1" dirty="0">
                <a:ea typeface="Calibri"/>
                <a:cs typeface="Calibri"/>
              </a:rPr>
              <a:t> </a:t>
            </a:r>
            <a:r>
              <a:rPr lang="en-US" sz="2800" b="1" dirty="0">
                <a:ea typeface="Calibri"/>
                <a:cs typeface="Calibri"/>
              </a:rPr>
              <a:t>are there to represent your hospital. </a:t>
            </a:r>
            <a:r>
              <a:rPr lang="en-US" dirty="0">
                <a:ea typeface="Calibri"/>
                <a:cs typeface="Calibri"/>
              </a:rPr>
              <a:t> 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908459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t>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3068262"/>
            <a:ext cx="4657725" cy="25336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Google Shape;368;p16"/>
          <p:cNvSpPr txBox="1">
            <a:spLocks/>
          </p:cNvSpPr>
          <p:nvPr/>
        </p:nvSpPr>
        <p:spPr>
          <a:xfrm>
            <a:off x="5858948" y="1489563"/>
            <a:ext cx="6111378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accent3"/>
                </a:solidFill>
                <a:ea typeface="Lato Medium"/>
                <a:cs typeface="Lato Medium"/>
              </a:rPr>
              <a:t>Each hospital can send 1 bedside OB </a:t>
            </a:r>
            <a:r>
              <a:rPr lang="en-US" sz="2400" dirty="0">
                <a:solidFill>
                  <a:schemeClr val="tx1"/>
                </a:solidFill>
                <a:ea typeface="Lato Medium"/>
                <a:cs typeface="Lato Medium"/>
              </a:rPr>
              <a:t>and</a:t>
            </a:r>
            <a:r>
              <a:rPr lang="en-US" sz="2400" dirty="0">
                <a:solidFill>
                  <a:schemeClr val="accent3"/>
                </a:solidFill>
                <a:ea typeface="Lato Medium"/>
                <a:cs typeface="Lato Medium"/>
              </a:rPr>
              <a:t> 1-Neonatal nurse</a:t>
            </a:r>
            <a:r>
              <a:rPr lang="en-US" sz="2400" dirty="0">
                <a:solidFill>
                  <a:schemeClr val="tx1"/>
                </a:solidFill>
                <a:ea typeface="Lato Medium"/>
                <a:cs typeface="Lato Medium"/>
              </a:rPr>
              <a:t> to attend the 12</a:t>
            </a:r>
            <a:r>
              <a:rPr lang="en-US" sz="2400" baseline="30000" dirty="0">
                <a:solidFill>
                  <a:schemeClr val="tx1"/>
                </a:solidFill>
                <a:ea typeface="Lato Medium"/>
                <a:cs typeface="Lato Medium"/>
              </a:rPr>
              <a:t>th</a:t>
            </a:r>
            <a:r>
              <a:rPr lang="en-US" sz="2400" dirty="0">
                <a:solidFill>
                  <a:schemeClr val="tx1"/>
                </a:solidFill>
                <a:ea typeface="Lato Medium"/>
                <a:cs typeface="Lato Medium"/>
              </a:rPr>
              <a:t> Annual Conference in Lombard, IL.</a:t>
            </a:r>
            <a:endParaRPr lang="en-US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</a:pPr>
            <a:endParaRPr lang="en-US" sz="2400" dirty="0">
              <a:solidFill>
                <a:schemeClr val="tx1"/>
              </a:solidFill>
              <a:ea typeface="Lato Medium"/>
              <a:cs typeface="Lato Medium"/>
            </a:endParaRP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ea typeface="Lato Medium"/>
                <a:cs typeface="Lato Medium"/>
              </a:rPr>
              <a:t>Discounted registration &amp; 1-night hotel stay provided.</a:t>
            </a: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1"/>
              </a:solidFill>
              <a:ea typeface="Lato Medium"/>
              <a:cs typeface="Lato Medium"/>
            </a:endParaRP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ea typeface="Lato Medium"/>
                <a:cs typeface="Lato Medium"/>
              </a:rPr>
              <a:t>More details to come. </a:t>
            </a:r>
            <a:endParaRPr lang="en-US" dirty="0">
              <a:solidFill>
                <a:schemeClr val="tx1"/>
              </a:solidFill>
            </a:endParaRPr>
          </a:p>
          <a:p>
            <a:pPr marL="342900" indent="-342900" algn="ctr"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ea typeface="Lato Medium"/>
              <a:cs typeface="Lato Medium"/>
            </a:endParaRPr>
          </a:p>
        </p:txBody>
      </p:sp>
      <p:pic>
        <p:nvPicPr>
          <p:cNvPr id="9" name="Picture 8" descr="Pumpkin PNG Transparent Images | PNG All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4181" y="1820242"/>
            <a:ext cx="950219" cy="81855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640080" y="325369"/>
            <a:ext cx="5422053" cy="1956841"/>
          </a:xfrm>
          <a:prstGeom prst="rect">
            <a:avLst/>
          </a:prstGeom>
        </p:spPr>
        <p:txBody>
          <a:bodyPr lIns="91440" tIns="45720" rIns="91440" bIns="45720" anchor="b">
            <a:normAutofit fontScale="9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  <a:t>ILPQC Bedside Nurse Scholarship Opportunity </a:t>
            </a:r>
            <a:r>
              <a:rPr lang="en-US" sz="4200" dirty="0">
                <a:solidFill>
                  <a:schemeClr val="tx1"/>
                </a:solidFill>
                <a:ea typeface="Lato Medium"/>
                <a:cs typeface="Lato Medium"/>
              </a:rPr>
              <a:t>Coming Soon! </a:t>
            </a:r>
            <a:endParaRPr lang="en-US" sz="4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6970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t>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Woman holding a small baby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349260" y="2521922"/>
            <a:ext cx="2803047" cy="14984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Google Shape;368;p16"/>
          <p:cNvSpPr txBox="1">
            <a:spLocks/>
          </p:cNvSpPr>
          <p:nvPr/>
        </p:nvSpPr>
        <p:spPr>
          <a:xfrm>
            <a:off x="5858948" y="1489563"/>
            <a:ext cx="6111378" cy="486156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</a:pPr>
            <a:r>
              <a:rPr lang="en-US" sz="2800" dirty="0">
                <a:solidFill>
                  <a:schemeClr val="accent3"/>
                </a:solidFill>
                <a:ea typeface="Lato Medium"/>
                <a:cs typeface="Lato Medium"/>
              </a:rPr>
              <a:t>ILPQC Patient Partners working with an ILPQC hospital are invited</a:t>
            </a:r>
            <a:r>
              <a:rPr lang="en-US" sz="2800" dirty="0">
                <a:solidFill>
                  <a:schemeClr val="tx1"/>
                </a:solidFill>
                <a:ea typeface="Lato Medium"/>
                <a:cs typeface="Lato Medium"/>
              </a:rPr>
              <a:t> to attend the  12</a:t>
            </a:r>
            <a:r>
              <a:rPr lang="en-US" sz="2800" baseline="30000" dirty="0">
                <a:solidFill>
                  <a:schemeClr val="tx1"/>
                </a:solidFill>
                <a:ea typeface="Lato Medium"/>
                <a:cs typeface="Lato Medium"/>
              </a:rPr>
              <a:t>th</a:t>
            </a:r>
            <a:r>
              <a:rPr lang="en-US" sz="2800" dirty="0">
                <a:solidFill>
                  <a:schemeClr val="tx1"/>
                </a:solidFill>
                <a:ea typeface="Lato Medium"/>
                <a:cs typeface="Lato Medium"/>
              </a:rPr>
              <a:t> Annual Conference in Lombard, IL.</a:t>
            </a:r>
            <a:endParaRPr lang="en-US" sz="2800" b="0">
              <a:solidFill>
                <a:schemeClr val="tx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</a:pPr>
            <a:endParaRPr lang="en-US" sz="2400" dirty="0">
              <a:solidFill>
                <a:schemeClr val="tx1"/>
              </a:solidFill>
              <a:ea typeface="Lato Medium"/>
              <a:cs typeface="Lato Medium"/>
            </a:endParaRP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ea typeface="Lato Medium"/>
                <a:cs typeface="Lato Medium"/>
              </a:rPr>
              <a:t>FREE Registration and 1-night Hotel stay will be provided.</a:t>
            </a:r>
          </a:p>
          <a:p>
            <a:pPr marL="342900" indent="-342900" algn="ctr">
              <a:lnSpc>
                <a:spcPct val="150000"/>
              </a:lnSpc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  <a:ea typeface="Lato Medium"/>
                <a:cs typeface="Lato Medium"/>
              </a:rPr>
              <a:t>More details to come. </a:t>
            </a:r>
            <a:endParaRPr lang="en-US" dirty="0">
              <a:solidFill>
                <a:schemeClr val="tx1"/>
              </a:solidFill>
            </a:endParaRPr>
          </a:p>
          <a:p>
            <a:pPr marL="342900" indent="-342900" algn="ctr">
              <a:spcBef>
                <a:spcPts val="0"/>
              </a:spcBef>
              <a:buClr>
                <a:schemeClr val="accent1"/>
              </a:buClr>
              <a:buSzPts val="4000"/>
              <a:buFont typeface="Arial" panose="020B0604020202020204" pitchFamily="34" charset="0"/>
              <a:buChar char="•"/>
            </a:pPr>
            <a:endParaRPr lang="en-US" sz="2200" dirty="0">
              <a:solidFill>
                <a:schemeClr val="tx1"/>
              </a:solidFill>
              <a:ea typeface="Lato Medium"/>
              <a:cs typeface="Lato Medium"/>
            </a:endParaRPr>
          </a:p>
        </p:txBody>
      </p:sp>
      <p:pic>
        <p:nvPicPr>
          <p:cNvPr id="9" name="Picture 8" descr="Pumpkin PNG Transparent Images | PNG All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0483" y="1403298"/>
            <a:ext cx="950219" cy="81855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50C8D749-49B2-A007-8DFF-3F8E29AB2FD0}"/>
              </a:ext>
            </a:extLst>
          </p:cNvPr>
          <p:cNvSpPr txBox="1">
            <a:spLocks/>
          </p:cNvSpPr>
          <p:nvPr/>
        </p:nvSpPr>
        <p:spPr>
          <a:xfrm>
            <a:off x="668835" y="267860"/>
            <a:ext cx="5422053" cy="1956841"/>
          </a:xfrm>
          <a:prstGeom prst="rect">
            <a:avLst/>
          </a:prstGeom>
        </p:spPr>
        <p:txBody>
          <a:bodyPr lIns="91440" tIns="45720" rIns="91440" bIns="45720" anchor="b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accent3"/>
                </a:solidFill>
                <a:ea typeface="Lato Medium"/>
                <a:cs typeface="Lato Medium"/>
              </a:rPr>
              <a:t>ILPQC Patient Partner Opportunity </a:t>
            </a:r>
            <a:endParaRPr lang="en-US" sz="4200" dirty="0">
              <a:solidFill>
                <a:schemeClr val="accent3"/>
              </a:solidFill>
            </a:endParaRPr>
          </a:p>
          <a:p>
            <a:pPr>
              <a:lnSpc>
                <a:spcPct val="90000"/>
              </a:lnSpc>
            </a:pPr>
            <a:r>
              <a:rPr lang="en-US" sz="4200" dirty="0">
                <a:solidFill>
                  <a:schemeClr val="tx1"/>
                </a:solidFill>
                <a:ea typeface="Lato Medium"/>
                <a:cs typeface="Lato Medium"/>
              </a:rPr>
              <a:t>Coming Soon! </a:t>
            </a:r>
            <a:endParaRPr lang="en-US" sz="4200">
              <a:solidFill>
                <a:schemeClr val="tx1"/>
              </a:solidFill>
            </a:endParaRPr>
          </a:p>
        </p:txBody>
      </p:sp>
      <p:pic>
        <p:nvPicPr>
          <p:cNvPr id="4" name="Picture 3" descr="People playing with happy baby">
            <a:extLst>
              <a:ext uri="{FF2B5EF4-FFF2-40B4-BE49-F238E27FC236}">
                <a16:creationId xmlns:a16="http://schemas.microsoft.com/office/drawing/2014/main" id="{2091B90D-FF3D-CEB2-835D-CCDB95E2490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850" y="4038503"/>
            <a:ext cx="3493698" cy="23178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7394552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54BC-687B-95DC-B1DF-ECE635CC7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9</a:t>
            </a:fld>
            <a:endParaRPr lang="en-US"/>
          </a:p>
        </p:txBody>
      </p:sp>
      <p:graphicFrame>
        <p:nvGraphicFramePr>
          <p:cNvPr id="9" name="Diagram 9">
            <a:extLst>
              <a:ext uri="{FF2B5EF4-FFF2-40B4-BE49-F238E27FC236}">
                <a16:creationId xmlns:a16="http://schemas.microsoft.com/office/drawing/2014/main" id="{25EB57FC-A0C6-0042-E219-B1DF4518901B}"/>
              </a:ext>
            </a:extLst>
          </p:cNvPr>
          <p:cNvGraphicFramePr/>
          <p:nvPr/>
        </p:nvGraphicFramePr>
        <p:xfrm>
          <a:off x="4705527" y="554559"/>
          <a:ext cx="7101795" cy="6062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CB0A0917-AFE1-6BF9-A27E-D2DD2D0CEB28}"/>
              </a:ext>
            </a:extLst>
          </p:cNvPr>
          <p:cNvSpPr/>
          <p:nvPr/>
        </p:nvSpPr>
        <p:spPr>
          <a:xfrm>
            <a:off x="287734" y="4732085"/>
            <a:ext cx="3925017" cy="165339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66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200" b="1" dirty="0">
                <a:cs typeface="Calibri"/>
              </a:rPr>
              <a:t>Data &amp; </a:t>
            </a:r>
            <a:br>
              <a:rPr lang="en-US" sz="2200" b="1" dirty="0">
                <a:cs typeface="Calibri"/>
              </a:rPr>
            </a:br>
            <a:r>
              <a:rPr lang="en-US" sz="2200" b="1" dirty="0">
                <a:cs typeface="Calibri"/>
              </a:rPr>
              <a:t>AC Teams Survey due: </a:t>
            </a:r>
          </a:p>
          <a:p>
            <a:pPr algn="ctr"/>
            <a:r>
              <a:rPr lang="en-US" sz="2200" b="1" dirty="0">
                <a:cs typeface="Calibri"/>
              </a:rPr>
              <a:t>Friday September 27th, 2024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C9B693A-1E47-117F-A949-26C285E5F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914" y="1147946"/>
            <a:ext cx="3418659" cy="3112135"/>
          </a:xfrm>
        </p:spPr>
        <p:txBody>
          <a:bodyPr anchor="ctr">
            <a:normAutofit fontScale="90000"/>
          </a:bodyPr>
          <a:lstStyle/>
          <a:p>
            <a:r>
              <a:rPr lang="en-US" sz="5400" dirty="0">
                <a:solidFill>
                  <a:schemeClr val="tx1"/>
                </a:solidFill>
                <a:ea typeface="Lato Medium"/>
                <a:cs typeface="Lato Medium"/>
              </a:rPr>
              <a:t>Upcoming Annual Conference Prep</a:t>
            </a:r>
            <a:endParaRPr lang="en-US" sz="5400" dirty="0">
              <a:solidFill>
                <a:schemeClr val="tx1"/>
              </a:solidFill>
            </a:endParaRPr>
          </a:p>
        </p:txBody>
      </p:sp>
      <p:pic>
        <p:nvPicPr>
          <p:cNvPr id="6" name="Picture 5" descr="Pumpkin PNG Transparent Images | PNG All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9365" y="3442046"/>
            <a:ext cx="950219" cy="818550"/>
          </a:xfrm>
          <a:prstGeom prst="rect">
            <a:avLst/>
          </a:prstGeom>
        </p:spPr>
      </p:pic>
      <p:sp>
        <p:nvSpPr>
          <p:cNvPr id="206" name="Rectangle: Rounded Corners 205">
            <a:extLst>
              <a:ext uri="{FF2B5EF4-FFF2-40B4-BE49-F238E27FC236}">
                <a16:creationId xmlns:a16="http://schemas.microsoft.com/office/drawing/2014/main" id="{397E10DD-15AD-D61C-9A6F-C678BAC230FA}"/>
              </a:ext>
            </a:extLst>
          </p:cNvPr>
          <p:cNvSpPr/>
          <p:nvPr/>
        </p:nvSpPr>
        <p:spPr>
          <a:xfrm>
            <a:off x="6757545" y="3711292"/>
            <a:ext cx="4600752" cy="402566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66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200" b="1">
                <a:cs typeface="Calibri"/>
              </a:rPr>
              <a:t>Due: Friday September 20th, 2024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8315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Awards Infographics by Slidesgo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D83F3F"/>
      </a:accent1>
      <a:accent2>
        <a:srgbClr val="F2ABB9"/>
      </a:accent2>
      <a:accent3>
        <a:srgbClr val="F5A326"/>
      </a:accent3>
      <a:accent4>
        <a:srgbClr val="FCE1BE"/>
      </a:accent4>
      <a:accent5>
        <a:srgbClr val="5D9194"/>
      </a:accent5>
      <a:accent6>
        <a:srgbClr val="C4DAF5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0</TotalTime>
  <Words>1841</Words>
  <Application>Microsoft Macintosh PowerPoint</Application>
  <PresentationFormat>Widescreen</PresentationFormat>
  <Paragraphs>309</Paragraphs>
  <Slides>44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2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74" baseType="lpstr">
      <vt:lpstr>Aptos</vt:lpstr>
      <vt:lpstr>Aptos Display</vt:lpstr>
      <vt:lpstr>Arial</vt:lpstr>
      <vt:lpstr>Bierstadt Display</vt:lpstr>
      <vt:lpstr>Calibri</vt:lpstr>
      <vt:lpstr>Canva Sans 2 Bold</vt:lpstr>
      <vt:lpstr>Cavolini</vt:lpstr>
      <vt:lpstr>Chelsea Market</vt:lpstr>
      <vt:lpstr>Courier New</vt:lpstr>
      <vt:lpstr>Courier New,monospace</vt:lpstr>
      <vt:lpstr>DM Sans</vt:lpstr>
      <vt:lpstr>Fira Sans</vt:lpstr>
      <vt:lpstr>Helvetica Neue</vt:lpstr>
      <vt:lpstr>Helvetica Neue Medium</vt:lpstr>
      <vt:lpstr>Josefin Slab</vt:lpstr>
      <vt:lpstr>Kollektif Bold</vt:lpstr>
      <vt:lpstr>Lato</vt:lpstr>
      <vt:lpstr>Lato Medium</vt:lpstr>
      <vt:lpstr>Noto Sans Symbols</vt:lpstr>
      <vt:lpstr>Prompt</vt:lpstr>
      <vt:lpstr>Roboto</vt:lpstr>
      <vt:lpstr>Times New Roman</vt:lpstr>
      <vt:lpstr>Verdana</vt:lpstr>
      <vt:lpstr>Wingdings</vt:lpstr>
      <vt:lpstr>office theme</vt:lpstr>
      <vt:lpstr>1_Office Theme</vt:lpstr>
      <vt:lpstr>3_Office Theme</vt:lpstr>
      <vt:lpstr>Awards Infographics by Slidesgo</vt:lpstr>
      <vt:lpstr>Office Theme</vt:lpstr>
      <vt:lpstr>think-cell Slide</vt:lpstr>
      <vt:lpstr>Equity and Safe Sleep for Infants  </vt:lpstr>
      <vt:lpstr>ATTENDANCE POLL</vt:lpstr>
      <vt:lpstr>Overview</vt:lpstr>
      <vt:lpstr>Building an Inclusive Clinical Environment and Parent Empowerment</vt:lpstr>
      <vt:lpstr>ESSI ABP MOC Part IV </vt:lpstr>
      <vt:lpstr>Registration  Coming Soon!</vt:lpstr>
      <vt:lpstr>PowerPoint Presentation</vt:lpstr>
      <vt:lpstr>PowerPoint Presentation</vt:lpstr>
      <vt:lpstr>Upcoming Annual Conference Prep</vt:lpstr>
      <vt:lpstr>12th Annual Conference  Planning Committee Volunteers </vt:lpstr>
      <vt:lpstr>12th Annual Conference ILPQC Partner  Tables</vt:lpstr>
      <vt:lpstr>ESSI Aims and Measures</vt:lpstr>
      <vt:lpstr>ESSI Initiative Aims</vt:lpstr>
      <vt:lpstr>PowerPoint Presentation</vt:lpstr>
      <vt:lpstr>Key Driver Diagram</vt:lpstr>
      <vt:lpstr>ESSI Data Review</vt:lpstr>
      <vt:lpstr>PowerPoint Presentation</vt:lpstr>
      <vt:lpstr>PowerPoint Presentation</vt:lpstr>
      <vt:lpstr>PowerPoint Presentation</vt:lpstr>
      <vt:lpstr>Respectful Care Practices and Listening to Famil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LL</vt:lpstr>
      <vt:lpstr>Strategies that Birth Equity Teams Found Useful for Endorsing Respectful Care Practi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LL</vt:lpstr>
      <vt:lpstr>PowerPoint Presentation</vt:lpstr>
      <vt:lpstr>Building an Inclusive Clinical Environment and Parent Empowerment</vt:lpstr>
      <vt:lpstr>Team Talk: FHN Hospital</vt:lpstr>
      <vt:lpstr>Upcoming Opportunities of Interest to ESSI Teams</vt:lpstr>
      <vt:lpstr>Diversity Science Dignity in Pregnancy &amp; Childbirth: Preventing Racial Bias in Perinatal Care</vt:lpstr>
      <vt:lpstr>PowerPoint Presentation</vt:lpstr>
      <vt:lpstr>Data Collection Timelines</vt:lpstr>
      <vt:lpstr>PowerPoint Presentation</vt:lpstr>
      <vt:lpstr>Upcoming ESSI Cal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Kiela Karina Moreno</cp:lastModifiedBy>
  <cp:revision>65</cp:revision>
  <dcterms:created xsi:type="dcterms:W3CDTF">2024-06-17T00:28:45Z</dcterms:created>
  <dcterms:modified xsi:type="dcterms:W3CDTF">2024-08-19T20:18:31Z</dcterms:modified>
</cp:coreProperties>
</file>